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0.xml" ContentType="application/vnd.openxmlformats-officedocument.themeOverride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1.xml" ContentType="application/vnd.openxmlformats-officedocument.themeOverride+xml"/>
  <Override PartName="/ppt/drawings/drawing2.xml" ContentType="application/vnd.openxmlformats-officedocument.drawingml.chartshape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2.xml" ContentType="application/vnd.openxmlformats-officedocument.themeOverride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7"/>
  </p:notesMasterIdLst>
  <p:handoutMasterIdLst>
    <p:handoutMasterId r:id="rId18"/>
  </p:handoutMasterIdLst>
  <p:sldIdLst>
    <p:sldId id="256" r:id="rId4"/>
    <p:sldId id="266" r:id="rId5"/>
    <p:sldId id="267" r:id="rId6"/>
    <p:sldId id="269" r:id="rId7"/>
    <p:sldId id="268" r:id="rId8"/>
    <p:sldId id="261" r:id="rId9"/>
    <p:sldId id="265" r:id="rId10"/>
    <p:sldId id="262" r:id="rId11"/>
    <p:sldId id="263" r:id="rId12"/>
    <p:sldId id="264" r:id="rId13"/>
    <p:sldId id="283" r:id="rId14"/>
    <p:sldId id="307" r:id="rId15"/>
    <p:sldId id="309" r:id="rId16"/>
  </p:sldIdLst>
  <p:sldSz cx="12192000" cy="6858000"/>
  <p:notesSz cx="6761163" cy="9856788"/>
  <p:custDataLst>
    <p:tags r:id="rId19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CFC41C8-9493-DD7D-59E8-9827BB4E8AB4}" name="Sturk Per-Uno" initials="SPU" userId="S::per-uno.sturk@volvo.com::3898f1bf-7f8e-4c2f-96a5-88a2886b2f6b" providerId="AD"/>
  <p188:author id="{28B7DBE4-0815-3B5D-048C-BD5F64CB8BD8}" name="Klaus Neuhaus" initials="KN" userId="Klaus Neuhaus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  <a:srgbClr val="0000FF"/>
    <a:srgbClr val="0033CC"/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702" autoAdjust="0"/>
  </p:normalViewPr>
  <p:slideViewPr>
    <p:cSldViewPr>
      <p:cViewPr varScale="1">
        <p:scale>
          <a:sx n="78" d="100"/>
          <a:sy n="78" d="100"/>
        </p:scale>
        <p:origin x="758" y="6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9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1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microsoft.com/office/2016/11/relationships/changesInfo" Target="changesInfos/changesInfo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CC6543FD-920F-40F7-9808-1250971FB440}"/>
    <pc:docChg chg="modSld">
      <pc:chgData name="Konstantin Glukhenkiy" userId="24b49d37-c936-4e44-8fab-4bfac34f62f4" providerId="ADAL" clId="{CC6543FD-920F-40F7-9808-1250971FB440}" dt="2024-02-06T09:17:42.103" v="14" actId="6549"/>
      <pc:docMkLst>
        <pc:docMk/>
      </pc:docMkLst>
      <pc:sldChg chg="modSp mod">
        <pc:chgData name="Konstantin Glukhenkiy" userId="24b49d37-c936-4e44-8fab-4bfac34f62f4" providerId="ADAL" clId="{CC6543FD-920F-40F7-9808-1250971FB440}" dt="2024-02-06T09:15:59.760" v="4" actId="6549"/>
        <pc:sldMkLst>
          <pc:docMk/>
          <pc:sldMk cId="0" sldId="256"/>
        </pc:sldMkLst>
        <pc:spChg chg="mod">
          <ac:chgData name="Konstantin Glukhenkiy" userId="24b49d37-c936-4e44-8fab-4bfac34f62f4" providerId="ADAL" clId="{CC6543FD-920F-40F7-9808-1250971FB440}" dt="2024-02-06T09:15:59.760" v="4" actId="6549"/>
          <ac:spMkLst>
            <pc:docMk/>
            <pc:sldMk cId="0" sldId="256"/>
            <ac:spMk id="19" creationId="{28EF72BA-0EB4-D5B7-C137-DB42337A13C6}"/>
          </ac:spMkLst>
        </pc:spChg>
      </pc:sldChg>
      <pc:sldChg chg="modSp mod">
        <pc:chgData name="Konstantin Glukhenkiy" userId="24b49d37-c936-4e44-8fab-4bfac34f62f4" providerId="ADAL" clId="{CC6543FD-920F-40F7-9808-1250971FB440}" dt="2024-02-06T09:17:42.103" v="14" actId="6549"/>
        <pc:sldMkLst>
          <pc:docMk/>
          <pc:sldMk cId="3490299636" sldId="263"/>
        </pc:sldMkLst>
        <pc:spChg chg="mod">
          <ac:chgData name="Konstantin Glukhenkiy" userId="24b49d37-c936-4e44-8fab-4bfac34f62f4" providerId="ADAL" clId="{CC6543FD-920F-40F7-9808-1250971FB440}" dt="2024-02-06T09:17:42.103" v="14" actId="6549"/>
          <ac:spMkLst>
            <pc:docMk/>
            <pc:sldMk cId="3490299636" sldId="263"/>
            <ac:spMk id="41" creationId="{D6281A6E-0978-E750-979A-417D9B40D9C6}"/>
          </ac:spMkLst>
        </pc:spChg>
      </pc:sldChg>
      <pc:sldChg chg="modSp mod">
        <pc:chgData name="Konstantin Glukhenkiy" userId="24b49d37-c936-4e44-8fab-4bfac34f62f4" providerId="ADAL" clId="{CC6543FD-920F-40F7-9808-1250971FB440}" dt="2024-02-06T09:17:04.987" v="8" actId="6549"/>
        <pc:sldMkLst>
          <pc:docMk/>
          <pc:sldMk cId="64296447" sldId="269"/>
        </pc:sldMkLst>
        <pc:spChg chg="mod">
          <ac:chgData name="Konstantin Glukhenkiy" userId="24b49d37-c936-4e44-8fab-4bfac34f62f4" providerId="ADAL" clId="{CC6543FD-920F-40F7-9808-1250971FB440}" dt="2024-02-06T09:17:04.987" v="8" actId="6549"/>
          <ac:spMkLst>
            <pc:docMk/>
            <pc:sldMk cId="64296447" sldId="269"/>
            <ac:spMk id="51" creationId="{8C3267D6-878D-35D5-6D72-200F99E3247E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oleObject" Target="file:///S:\CLOUD-AKL\Projekte\2023%20Simulation%20ASEP%20f&#252;r%20EVs%20mit%20SES\2023-10-12%20NHTSA%20Stopping%20distances%20and%20times%20-%20Expanded%20to%20100%20kph%20-%20ASEP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S:\CLOUD-AKL\Projekte\2023%20Simulation%20ASEP%20f&#252;r%20EVs%20mit%20SES\2023-10-12%20NHTSA%20Stopping%20distances%20and%20times%20-%20Expanded%20to%20100%20kph%20-%20ASEP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1.xml"/><Relationship Id="rId1" Type="http://schemas.microsoft.com/office/2011/relationships/chartStyle" Target="style11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S:\CLOUD-AKL\Projekte\2023%20Simulation%20ASEP%20f&#252;r%20EVs%20mit%20SES\2023-10-26%20NHTSA%20Stopping%20distances%20and%20times%20-%20Expanded%20to%20100%20kph%20-%20ASEP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S:\CLOUD-AKL\Projekte\2023%20Simulation%20ASEP%20f&#252;r%20EVs%20mit%20SES\2023-10-12%20NHTSA%20Stopping%20distances%20and%20times%20-%20Expanded%20to%20100%20kph%20-%20ASEP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S:\CLOUD-AKL\Projekte\2023%20Simulation%20ASEP%20f&#252;r%20EVs%20mit%20SES\2023-10-12%20NHTSA%20Stopping%20distances%20and%20times%20-%20Expanded%20to%20100%20kph%20-%20ASEP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S:\CLOUD-AKL\Projekte\2023%20Simulation%20ASEP%20f&#252;r%20EVs%20mit%20SES\2023-10-26%20NHTSA%20Stopping%20distances%20and%20times%20-%20Expanded%20to%20100%20kph%20-%20ASEP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S:\CLOUD-AKL\Projekte\2023%20Simulation%20ASEP%20f&#252;r%20EVs%20mit%20SES\2023-10-12%20NHTSA%20Stopping%20distances%20and%20times%20-%20Expanded%20to%20100%20kph%20-%20ASEP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S:\CLOUD-AKL\Projekte\2023%20Simulation%20ASEP%20f&#252;r%20EVs%20mit%20SES\2023-10-26%20NHTSA%20Stopping%20distances%20and%20times%20-%20Expanded%20to%20100%20kph%20-%20ASEP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S:\CLOUD-AKL\Projekte\2023%20Simulation%20ASEP%20f&#252;r%20EVs%20mit%20SES\2023-10-12%20NHTSA%20Stopping%20distances%20and%20times%20-%20Expanded%20to%20100%20kph%20-%20ASEP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S:\CLOUD-AKL\Projekte\2023%20Simulation%20ASEP%20f&#252;r%20EVs%20mit%20SES\2023-10-12%20NHTSA%20Stopping%20distances%20and%20times%20-%20Expanded%20to%20100%20kph%20-%20ASEP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S:\CLOUD-AKL\Projekte\2023%20Simulation%20ASEP%20f&#252;r%20EVs%20mit%20SES\2023-10-26%20NHTSA%20Stopping%20distances%20and%20times%20-%20Expanded%20to%20100%20kph%20-%20ASEP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S:\CLOUD-AKL\Projekte\2023%20Simulation%20ASEP%20f&#252;r%20EVs%20mit%20SES\2023-10-26%20NHTSA%20Stopping%20distances%20and%20times%20-%20Expanded%20to%20100%20kph%20-%20ASEP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 err="1"/>
              <a:t>Matching</a:t>
            </a:r>
            <a:r>
              <a:rPr lang="de-DE" dirty="0"/>
              <a:t> UN R138 </a:t>
            </a:r>
            <a:r>
              <a:rPr lang="de-DE" dirty="0" err="1"/>
              <a:t>with</a:t>
            </a:r>
            <a:r>
              <a:rPr lang="de-DE" dirty="0"/>
              <a:t> UN R51.03 ASEP</a:t>
            </a:r>
          </a:p>
        </c:rich>
      </c:tx>
      <c:layout>
        <c:manualLayout>
          <c:xMode val="edge"/>
          <c:yMode val="edge"/>
          <c:x val="0.32702869496855347"/>
          <c:y val="3.05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6404874213836474E-2"/>
          <c:y val="0.10240178571428571"/>
          <c:w val="0.89658144841269838"/>
          <c:h val="0.79557794796631254"/>
        </c:manualLayout>
      </c:layout>
      <c:scatterChart>
        <c:scatterStyle val="lineMarker"/>
        <c:varyColors val="0"/>
        <c:ser>
          <c:idx val="4"/>
          <c:order val="6"/>
          <c:tx>
            <c:v>UN R138 MAX SPL</c:v>
          </c:tx>
          <c:spPr>
            <a:ln w="3810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trendline>
            <c:name>UN R138 NEW MAX SPL</c:name>
            <c:spPr>
              <a:ln w="38100" cap="rnd">
                <a:solidFill>
                  <a:srgbClr val="00B0F0"/>
                </a:solidFill>
                <a:prstDash val="sysDash"/>
              </a:ln>
              <a:effectLst/>
            </c:spPr>
            <c:trendlineType val="linear"/>
            <c:forward val="30"/>
            <c:dispRSqr val="0"/>
            <c:dispEq val="0"/>
          </c:trendline>
          <c:xVal>
            <c:numRef>
              <c:f>'MIN SAFETY'!$O$30:$O$32</c:f>
              <c:numCache>
                <c:formatCode>General</c:formatCode>
                <c:ptCount val="3"/>
                <c:pt idx="0" formatCode="0.0">
                  <c:v>0</c:v>
                </c:pt>
                <c:pt idx="1">
                  <c:v>10</c:v>
                </c:pt>
                <c:pt idx="2">
                  <c:v>20</c:v>
                </c:pt>
              </c:numCache>
            </c:numRef>
          </c:xVal>
          <c:yVal>
            <c:numRef>
              <c:f>'MIN SAFETY'!$P$30:$P$32</c:f>
              <c:numCache>
                <c:formatCode>General</c:formatCode>
                <c:ptCount val="3"/>
                <c:pt idx="0" formatCode="0.0">
                  <c:v>66</c:v>
                </c:pt>
                <c:pt idx="1">
                  <c:v>66</c:v>
                </c:pt>
                <c:pt idx="2">
                  <c:v>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C36-491D-9064-745570F9D1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6408816"/>
        <c:axId val="43641214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v>CRUISE</c:v>
                </c:tx>
                <c:spPr>
                  <a:ln w="25400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MIN SAFETY'!$C$7:$C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39.07715318164081</c:v>
                      </c:pt>
                      <c:pt idx="1">
                        <c:v>42.312824452710153</c:v>
                      </c:pt>
                      <c:pt idx="2">
                        <c:v>45.639636681975475</c:v>
                      </c:pt>
                      <c:pt idx="3">
                        <c:v>48.303469669506498</c:v>
                      </c:pt>
                      <c:pt idx="4">
                        <c:v>50.512609621468975</c:v>
                      </c:pt>
                      <c:pt idx="5">
                        <c:v>52.402250882171316</c:v>
                      </c:pt>
                      <c:pt idx="6">
                        <c:v>54.056932193540817</c:v>
                      </c:pt>
                      <c:pt idx="7">
                        <c:v>55.531714350332848</c:v>
                      </c:pt>
                      <c:pt idx="8">
                        <c:v>56.864169126186987</c:v>
                      </c:pt>
                      <c:pt idx="9">
                        <c:v>58.081015864890716</c:v>
                      </c:pt>
                      <c:pt idx="10">
                        <c:v>59.201930734866266</c:v>
                      </c:pt>
                      <c:pt idx="11">
                        <c:v>60.24183285088629</c:v>
                      </c:pt>
                      <c:pt idx="12">
                        <c:v>61.212315642826155</c:v>
                      </c:pt>
                      <c:pt idx="13">
                        <c:v>62.122577611321503</c:v>
                      </c:pt>
                      <c:pt idx="14">
                        <c:v>62.980047996840668</c:v>
                      </c:pt>
                      <c:pt idx="15">
                        <c:v>63.790819766503489</c:v>
                      </c:pt>
                      <c:pt idx="16">
                        <c:v>64.559956990352845</c:v>
                      </c:pt>
                      <c:pt idx="17">
                        <c:v>65.291717997536821</c:v>
                      </c:pt>
                      <c:pt idx="18">
                        <c:v>65.989720636628675</c:v>
                      </c:pt>
                      <c:pt idx="19">
                        <c:v>66.65706684062375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1-7C36-491D-9064-745570F9D103}"/>
                  </c:ext>
                </c:extLst>
              </c15:ser>
            </c15:filteredScatterSeries>
            <c15:filteredScatterSeries>
              <c15:ser>
                <c:idx val="9"/>
                <c:order val="1"/>
                <c:tx>
                  <c:v>ACC 5.0 m/s²</c:v>
                </c:tx>
                <c:spPr>
                  <a:ln w="2540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7:$M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3.419243045860078</c:v>
                      </c:pt>
                      <c:pt idx="1">
                        <c:v>54.666026131391135</c:v>
                      </c:pt>
                      <c:pt idx="2">
                        <c:v>56.080086462829186</c:v>
                      </c:pt>
                      <c:pt idx="3">
                        <c:v>57.363550882214952</c:v>
                      </c:pt>
                      <c:pt idx="4">
                        <c:v>58.53996996273419</c:v>
                      </c:pt>
                      <c:pt idx="5">
                        <c:v>59.626901169764963</c:v>
                      </c:pt>
                      <c:pt idx="6">
                        <c:v>60.637795358209623</c:v>
                      </c:pt>
                      <c:pt idx="7">
                        <c:v>61.583196627979873</c:v>
                      </c:pt>
                      <c:pt idx="8">
                        <c:v>62.471533393842613</c:v>
                      </c:pt>
                      <c:pt idx="9">
                        <c:v>63.309656623959199</c:v>
                      </c:pt>
                      <c:pt idx="10">
                        <c:v>64.103216287046052</c:v>
                      </c:pt>
                      <c:pt idx="11">
                        <c:v>64.85693109127601</c:v>
                      </c:pt>
                      <c:pt idx="12">
                        <c:v>65.574785933347613</c:v>
                      </c:pt>
                      <c:pt idx="13">
                        <c:v>66.260179193427831</c:v>
                      </c:pt>
                      <c:pt idx="14">
                        <c:v>66.916034485179637</c:v>
                      </c:pt>
                      <c:pt idx="15">
                        <c:v>67.544886729380977</c:v>
                      </c:pt>
                      <c:pt idx="16">
                        <c:v>68.148949358401765</c:v>
                      </c:pt>
                      <c:pt idx="17">
                        <c:v>68.730167436997988</c:v>
                      </c:pt>
                      <c:pt idx="18">
                        <c:v>69.290260121947313</c:v>
                      </c:pt>
                      <c:pt idx="19">
                        <c:v>69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7C36-491D-9064-745570F9D103}"/>
                  </c:ext>
                </c:extLst>
              </c15:ser>
            </c15:filteredScatterSeries>
            <c15:filteredScatterSeries>
              <c15:ser>
                <c:idx val="1"/>
                <c:order val="2"/>
                <c:tx>
                  <c:v>CRUISE incl Margin</c:v>
                </c:tx>
                <c:spPr>
                  <a:ln w="25400" cap="rnd">
                    <a:solidFill>
                      <a:srgbClr val="00B050"/>
                    </a:solidFill>
                    <a:prstDash val="solid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C$33:$C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45.07715318164081</c:v>
                      </c:pt>
                      <c:pt idx="1">
                        <c:v>48.312824452710153</c:v>
                      </c:pt>
                      <c:pt idx="2">
                        <c:v>51.639636681975475</c:v>
                      </c:pt>
                      <c:pt idx="3">
                        <c:v>54.303469669506498</c:v>
                      </c:pt>
                      <c:pt idx="4">
                        <c:v>56.512609621468975</c:v>
                      </c:pt>
                      <c:pt idx="5">
                        <c:v>58.402250882171316</c:v>
                      </c:pt>
                      <c:pt idx="6">
                        <c:v>60.056932193540817</c:v>
                      </c:pt>
                      <c:pt idx="7">
                        <c:v>61.531714350332848</c:v>
                      </c:pt>
                      <c:pt idx="8">
                        <c:v>62.864169126186987</c:v>
                      </c:pt>
                      <c:pt idx="9">
                        <c:v>64.081015864890716</c:v>
                      </c:pt>
                      <c:pt idx="10">
                        <c:v>65.201930734866266</c:v>
                      </c:pt>
                      <c:pt idx="11">
                        <c:v>66.241832850886283</c:v>
                      </c:pt>
                      <c:pt idx="12">
                        <c:v>67.212315642826155</c:v>
                      </c:pt>
                      <c:pt idx="13">
                        <c:v>68.122577611321503</c:v>
                      </c:pt>
                      <c:pt idx="14">
                        <c:v>68.980047996840668</c:v>
                      </c:pt>
                      <c:pt idx="15">
                        <c:v>69.790819766503489</c:v>
                      </c:pt>
                      <c:pt idx="16">
                        <c:v>70.559956990352845</c:v>
                      </c:pt>
                      <c:pt idx="17">
                        <c:v>71.291717997536821</c:v>
                      </c:pt>
                      <c:pt idx="18">
                        <c:v>71.989720636628675</c:v>
                      </c:pt>
                      <c:pt idx="19">
                        <c:v>72.65706684062375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7C36-491D-9064-745570F9D103}"/>
                  </c:ext>
                </c:extLst>
              </c15:ser>
            </c15:filteredScatterSeries>
            <c15:filteredScatterSeries>
              <c15:ser>
                <c:idx val="2"/>
                <c:order val="3"/>
                <c:tx>
                  <c:v>ACC 5.0 m/s² incl Margin</c:v>
                </c:tx>
                <c:spPr>
                  <a:ln w="25400" cap="rnd">
                    <a:solidFill>
                      <a:srgbClr val="00B05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33:$M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9.419243045860078</c:v>
                      </c:pt>
                      <c:pt idx="1">
                        <c:v>60.666026131391135</c:v>
                      </c:pt>
                      <c:pt idx="2">
                        <c:v>62.080086462829186</c:v>
                      </c:pt>
                      <c:pt idx="3">
                        <c:v>63.363550882214952</c:v>
                      </c:pt>
                      <c:pt idx="4">
                        <c:v>64.53996996273419</c:v>
                      </c:pt>
                      <c:pt idx="5">
                        <c:v>65.626901169764963</c:v>
                      </c:pt>
                      <c:pt idx="6">
                        <c:v>66.637795358209615</c:v>
                      </c:pt>
                      <c:pt idx="7">
                        <c:v>67.583196627979873</c:v>
                      </c:pt>
                      <c:pt idx="8">
                        <c:v>68.471533393842606</c:v>
                      </c:pt>
                      <c:pt idx="9">
                        <c:v>69.309656623959199</c:v>
                      </c:pt>
                      <c:pt idx="10">
                        <c:v>70.103216287046052</c:v>
                      </c:pt>
                      <c:pt idx="11">
                        <c:v>70.85693109127601</c:v>
                      </c:pt>
                      <c:pt idx="12">
                        <c:v>71.574785933347613</c:v>
                      </c:pt>
                      <c:pt idx="13">
                        <c:v>72.260179193427831</c:v>
                      </c:pt>
                      <c:pt idx="14">
                        <c:v>72.916034485179637</c:v>
                      </c:pt>
                      <c:pt idx="15">
                        <c:v>73.544886729380977</c:v>
                      </c:pt>
                      <c:pt idx="16">
                        <c:v>74.148949358401765</c:v>
                      </c:pt>
                      <c:pt idx="17">
                        <c:v>74.730167436997988</c:v>
                      </c:pt>
                      <c:pt idx="18">
                        <c:v>75.290260121947313</c:v>
                      </c:pt>
                      <c:pt idx="19">
                        <c:v>75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7C36-491D-9064-745570F9D103}"/>
                  </c:ext>
                </c:extLst>
              </c15:ser>
            </c15:filteredScatterSeries>
            <c15:filteredScatterSeries>
              <c15:ser>
                <c:idx val="3"/>
                <c:order val="4"/>
                <c:tx>
                  <c:v>ASEP BORDER</c:v>
                </c:tx>
                <c:spPr>
                  <a:ln w="3175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10:$Z$16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50</c:v>
                      </c:pt>
                      <c:pt idx="1">
                        <c:v>54.33</c:v>
                      </c:pt>
                      <c:pt idx="2">
                        <c:v>60</c:v>
                      </c:pt>
                      <c:pt idx="3">
                        <c:v>65</c:v>
                      </c:pt>
                      <c:pt idx="4">
                        <c:v>70</c:v>
                      </c:pt>
                      <c:pt idx="5">
                        <c:v>75</c:v>
                      </c:pt>
                      <c:pt idx="6">
                        <c:v>8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10:$AC$16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72.475000000000009</c:v>
                      </c:pt>
                      <c:pt idx="1">
                        <c:v>73.2</c:v>
                      </c:pt>
                      <c:pt idx="2">
                        <c:v>74.522999999999996</c:v>
                      </c:pt>
                      <c:pt idx="3">
                        <c:v>75.685000000000002</c:v>
                      </c:pt>
                      <c:pt idx="4">
                        <c:v>76.853999999999999</c:v>
                      </c:pt>
                      <c:pt idx="5">
                        <c:v>78.022999999999996</c:v>
                      </c:pt>
                      <c:pt idx="6">
                        <c:v>79.185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7C36-491D-9064-745570F9D103}"/>
                  </c:ext>
                </c:extLst>
              </c15:ser>
            </c15:filteredScatterSeries>
            <c15:filteredScatterSeries>
              <c15:ser>
                <c:idx val="6"/>
                <c:order val="5"/>
                <c:tx>
                  <c:v>Draft UN R138.02 Max Sound</c:v>
                </c:tx>
                <c:spPr>
                  <a:ln w="31750" cap="rnd">
                    <a:solidFill>
                      <a:srgbClr val="00B0F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F$13:$AF$2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</c:v>
                      </c:pt>
                      <c:pt idx="1">
                        <c:v>10</c:v>
                      </c:pt>
                      <c:pt idx="2">
                        <c:v>20</c:v>
                      </c:pt>
                      <c:pt idx="3">
                        <c:v>30</c:v>
                      </c:pt>
                      <c:pt idx="4">
                        <c:v>32</c:v>
                      </c:pt>
                      <c:pt idx="5">
                        <c:v>40</c:v>
                      </c:pt>
                      <c:pt idx="6">
                        <c:v>50</c:v>
                      </c:pt>
                      <c:pt idx="7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G$13:$AG$2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66</c:v>
                      </c:pt>
                      <c:pt idx="1">
                        <c:v>66</c:v>
                      </c:pt>
                      <c:pt idx="2">
                        <c:v>66</c:v>
                      </c:pt>
                      <c:pt idx="3">
                        <c:v>66</c:v>
                      </c:pt>
                      <c:pt idx="4">
                        <c:v>66</c:v>
                      </c:pt>
                      <c:pt idx="5">
                        <c:v>57.56</c:v>
                      </c:pt>
                      <c:pt idx="6">
                        <c:v>47</c:v>
                      </c:pt>
                      <c:pt idx="7">
                        <c:v>0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7C36-491D-9064-745570F9D103}"/>
                  </c:ext>
                </c:extLst>
              </c15:ser>
            </c15:filteredScatterSeries>
            <c15:filteredScatterSeries>
              <c15:ser>
                <c:idx val="5"/>
                <c:order val="7"/>
                <c:tx>
                  <c:v>Test Data</c:v>
                </c:tx>
                <c:spPr>
                  <a:ln w="19050" cap="rnd">
                    <a:noFill/>
                    <a:round/>
                  </a:ln>
                  <a:effectLst/>
                </c:spPr>
                <c:marker>
                  <c:symbol val="circle"/>
                  <c:size val="10"/>
                  <c:spPr>
                    <a:solidFill>
                      <a:schemeClr val="tx2">
                        <a:lumMod val="20000"/>
                        <a:lumOff val="80000"/>
                      </a:schemeClr>
                    </a:solidFill>
                    <a:ln w="9525">
                      <a:solidFill>
                        <a:schemeClr val="tx2">
                          <a:lumMod val="75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W$5:$W$64</c15:sqref>
                        </c15:formulaRef>
                      </c:ext>
                    </c:extLst>
                    <c:numCache>
                      <c:formatCode>0.0</c:formatCode>
                      <c:ptCount val="60"/>
                      <c:pt idx="0">
                        <c:v>33.5</c:v>
                      </c:pt>
                      <c:pt idx="1">
                        <c:v>37.200000000000003</c:v>
                      </c:pt>
                      <c:pt idx="2">
                        <c:v>42.4</c:v>
                      </c:pt>
                      <c:pt idx="3">
                        <c:v>48.6</c:v>
                      </c:pt>
                      <c:pt idx="4">
                        <c:v>57.1</c:v>
                      </c:pt>
                      <c:pt idx="5">
                        <c:v>65.099999999999994</c:v>
                      </c:pt>
                      <c:pt idx="6">
                        <c:v>74</c:v>
                      </c:pt>
                      <c:pt idx="7">
                        <c:v>83.7</c:v>
                      </c:pt>
                      <c:pt idx="8">
                        <c:v>92</c:v>
                      </c:pt>
                      <c:pt idx="9">
                        <c:v>100</c:v>
                      </c:pt>
                      <c:pt idx="10">
                        <c:v>33.799999999999997</c:v>
                      </c:pt>
                      <c:pt idx="11">
                        <c:v>37.200000000000003</c:v>
                      </c:pt>
                      <c:pt idx="12">
                        <c:v>41.8</c:v>
                      </c:pt>
                      <c:pt idx="13">
                        <c:v>49.3</c:v>
                      </c:pt>
                      <c:pt idx="14">
                        <c:v>55.9</c:v>
                      </c:pt>
                      <c:pt idx="15">
                        <c:v>64.5</c:v>
                      </c:pt>
                      <c:pt idx="16">
                        <c:v>73.900000000000006</c:v>
                      </c:pt>
                      <c:pt idx="17">
                        <c:v>82.9</c:v>
                      </c:pt>
                      <c:pt idx="18">
                        <c:v>91.5</c:v>
                      </c:pt>
                      <c:pt idx="19">
                        <c:v>99.4</c:v>
                      </c:pt>
                      <c:pt idx="20">
                        <c:v>53.1</c:v>
                      </c:pt>
                      <c:pt idx="21">
                        <c:v>55.7</c:v>
                      </c:pt>
                      <c:pt idx="22">
                        <c:v>58.5</c:v>
                      </c:pt>
                      <c:pt idx="23">
                        <c:v>63.5</c:v>
                      </c:pt>
                      <c:pt idx="24">
                        <c:v>70.7</c:v>
                      </c:pt>
                      <c:pt idx="25">
                        <c:v>78.8</c:v>
                      </c:pt>
                      <c:pt idx="26">
                        <c:v>85</c:v>
                      </c:pt>
                      <c:pt idx="27">
                        <c:v>91</c:v>
                      </c:pt>
                      <c:pt idx="28">
                        <c:v>92.9</c:v>
                      </c:pt>
                      <c:pt idx="29">
                        <c:v>100.2</c:v>
                      </c:pt>
                      <c:pt idx="30">
                        <c:v>91.2</c:v>
                      </c:pt>
                      <c:pt idx="31">
                        <c:v>84.1</c:v>
                      </c:pt>
                      <c:pt idx="32">
                        <c:v>99.9</c:v>
                      </c:pt>
                      <c:pt idx="33">
                        <c:v>54</c:v>
                      </c:pt>
                      <c:pt idx="34">
                        <c:v>54.4</c:v>
                      </c:pt>
                      <c:pt idx="35">
                        <c:v>54.6</c:v>
                      </c:pt>
                      <c:pt idx="36">
                        <c:v>54.3</c:v>
                      </c:pt>
                      <c:pt idx="37">
                        <c:v>50.1</c:v>
                      </c:pt>
                      <c:pt idx="38">
                        <c:v>49.8</c:v>
                      </c:pt>
                      <c:pt idx="39">
                        <c:v>49.9</c:v>
                      </c:pt>
                      <c:pt idx="40">
                        <c:v>49.7</c:v>
                      </c:pt>
                      <c:pt idx="41">
                        <c:v>10.6</c:v>
                      </c:pt>
                      <c:pt idx="42">
                        <c:v>20.2</c:v>
                      </c:pt>
                      <c:pt idx="43">
                        <c:v>31.2</c:v>
                      </c:pt>
                      <c:pt idx="44">
                        <c:v>30.6</c:v>
                      </c:pt>
                      <c:pt idx="45">
                        <c:v>40.299999999999997</c:v>
                      </c:pt>
                      <c:pt idx="46">
                        <c:v>50.1</c:v>
                      </c:pt>
                      <c:pt idx="47">
                        <c:v>60.4</c:v>
                      </c:pt>
                      <c:pt idx="48">
                        <c:v>70.599999999999994</c:v>
                      </c:pt>
                      <c:pt idx="49">
                        <c:v>79.599999999999994</c:v>
                      </c:pt>
                      <c:pt idx="50">
                        <c:v>90.1</c:v>
                      </c:pt>
                      <c:pt idx="51">
                        <c:v>98.8</c:v>
                      </c:pt>
                      <c:pt idx="52">
                        <c:v>38.4</c:v>
                      </c:pt>
                      <c:pt idx="53">
                        <c:v>66.3</c:v>
                      </c:pt>
                      <c:pt idx="54">
                        <c:v>78</c:v>
                      </c:pt>
                      <c:pt idx="55">
                        <c:v>54.2</c:v>
                      </c:pt>
                      <c:pt idx="56">
                        <c:v>89</c:v>
                      </c:pt>
                      <c:pt idx="57">
                        <c:v>87.3</c:v>
                      </c:pt>
                      <c:pt idx="58">
                        <c:v>88</c:v>
                      </c:pt>
                      <c:pt idx="59">
                        <c:v>87.8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X$5:$X$64</c15:sqref>
                        </c15:formulaRef>
                      </c:ext>
                    </c:extLst>
                    <c:numCache>
                      <c:formatCode>0.0</c:formatCode>
                      <c:ptCount val="60"/>
                      <c:pt idx="0">
                        <c:v>62</c:v>
                      </c:pt>
                      <c:pt idx="1">
                        <c:v>63</c:v>
                      </c:pt>
                      <c:pt idx="2">
                        <c:v>64.2</c:v>
                      </c:pt>
                      <c:pt idx="3">
                        <c:v>65.900000000000006</c:v>
                      </c:pt>
                      <c:pt idx="4">
                        <c:v>68.7</c:v>
                      </c:pt>
                      <c:pt idx="5">
                        <c:v>70.2</c:v>
                      </c:pt>
                      <c:pt idx="6">
                        <c:v>72.5</c:v>
                      </c:pt>
                      <c:pt idx="7">
                        <c:v>74.2</c:v>
                      </c:pt>
                      <c:pt idx="8">
                        <c:v>76.099999999999994</c:v>
                      </c:pt>
                      <c:pt idx="9">
                        <c:v>77.900000000000006</c:v>
                      </c:pt>
                      <c:pt idx="10">
                        <c:v>61.7</c:v>
                      </c:pt>
                      <c:pt idx="11">
                        <c:v>63.1</c:v>
                      </c:pt>
                      <c:pt idx="12">
                        <c:v>63</c:v>
                      </c:pt>
                      <c:pt idx="13">
                        <c:v>65.5</c:v>
                      </c:pt>
                      <c:pt idx="14">
                        <c:v>67.2</c:v>
                      </c:pt>
                      <c:pt idx="15">
                        <c:v>69.599999999999994</c:v>
                      </c:pt>
                      <c:pt idx="16">
                        <c:v>71.5</c:v>
                      </c:pt>
                      <c:pt idx="17">
                        <c:v>74.2</c:v>
                      </c:pt>
                      <c:pt idx="18">
                        <c:v>75.7</c:v>
                      </c:pt>
                      <c:pt idx="19">
                        <c:v>77.5</c:v>
                      </c:pt>
                      <c:pt idx="20">
                        <c:v>70.099999999999994</c:v>
                      </c:pt>
                      <c:pt idx="21">
                        <c:v>70.599999999999994</c:v>
                      </c:pt>
                      <c:pt idx="22">
                        <c:v>70.7</c:v>
                      </c:pt>
                      <c:pt idx="23">
                        <c:v>72.2</c:v>
                      </c:pt>
                      <c:pt idx="24">
                        <c:v>73.3</c:v>
                      </c:pt>
                      <c:pt idx="25">
                        <c:v>75.599999999999994</c:v>
                      </c:pt>
                      <c:pt idx="26">
                        <c:v>76.3</c:v>
                      </c:pt>
                      <c:pt idx="27">
                        <c:v>77.7</c:v>
                      </c:pt>
                      <c:pt idx="28">
                        <c:v>77.2</c:v>
                      </c:pt>
                      <c:pt idx="29">
                        <c:v>79.2</c:v>
                      </c:pt>
                      <c:pt idx="30">
                        <c:v>76.900000000000006</c:v>
                      </c:pt>
                      <c:pt idx="31">
                        <c:v>76.599999999999994</c:v>
                      </c:pt>
                      <c:pt idx="32">
                        <c:v>78.400000000000006</c:v>
                      </c:pt>
                      <c:pt idx="33">
                        <c:v>67.8</c:v>
                      </c:pt>
                      <c:pt idx="34">
                        <c:v>68</c:v>
                      </c:pt>
                      <c:pt idx="35">
                        <c:v>67.8</c:v>
                      </c:pt>
                      <c:pt idx="36">
                        <c:v>67.8</c:v>
                      </c:pt>
                      <c:pt idx="37">
                        <c:v>66.599999999999994</c:v>
                      </c:pt>
                      <c:pt idx="38">
                        <c:v>67.099999999999994</c:v>
                      </c:pt>
                      <c:pt idx="39">
                        <c:v>66.8</c:v>
                      </c:pt>
                      <c:pt idx="40">
                        <c:v>66.8</c:v>
                      </c:pt>
                      <c:pt idx="41">
                        <c:v>55.8</c:v>
                      </c:pt>
                      <c:pt idx="42">
                        <c:v>58.3</c:v>
                      </c:pt>
                      <c:pt idx="43">
                        <c:v>62</c:v>
                      </c:pt>
                      <c:pt idx="44">
                        <c:v>62</c:v>
                      </c:pt>
                      <c:pt idx="45">
                        <c:v>63.9</c:v>
                      </c:pt>
                      <c:pt idx="46">
                        <c:v>66.900000000000006</c:v>
                      </c:pt>
                      <c:pt idx="47">
                        <c:v>69.099999999999994</c:v>
                      </c:pt>
                      <c:pt idx="48">
                        <c:v>71.599999999999994</c:v>
                      </c:pt>
                      <c:pt idx="49">
                        <c:v>73.7</c:v>
                      </c:pt>
                      <c:pt idx="50">
                        <c:v>75.599999999999994</c:v>
                      </c:pt>
                      <c:pt idx="51">
                        <c:v>77.599999999999994</c:v>
                      </c:pt>
                      <c:pt idx="52">
                        <c:v>63.3</c:v>
                      </c:pt>
                      <c:pt idx="53">
                        <c:v>70.2</c:v>
                      </c:pt>
                      <c:pt idx="54">
                        <c:v>72.7</c:v>
                      </c:pt>
                      <c:pt idx="55">
                        <c:v>67.400000000000006</c:v>
                      </c:pt>
                      <c:pt idx="56">
                        <c:v>78.599999999999994</c:v>
                      </c:pt>
                      <c:pt idx="57">
                        <c:v>77.8</c:v>
                      </c:pt>
                      <c:pt idx="58">
                        <c:v>77.900000000000006</c:v>
                      </c:pt>
                      <c:pt idx="59">
                        <c:v>78.09999999999999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7C36-491D-9064-745570F9D103}"/>
                  </c:ext>
                </c:extLst>
              </c15:ser>
            </c15:filteredScatterSeries>
            <c15:filteredScatterSeries>
              <c15:ser>
                <c:idx val="7"/>
                <c:order val="8"/>
                <c:tx>
                  <c:v>ASEP BORDER &lt; 50 km/h</c:v>
                </c:tx>
                <c:spPr>
                  <a:ln w="28575" cap="rnd">
                    <a:solidFill>
                      <a:schemeClr val="tx1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4:$Z$10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</c:v>
                      </c:pt>
                      <c:pt idx="1">
                        <c:v>25</c:v>
                      </c:pt>
                      <c:pt idx="2">
                        <c:v>30</c:v>
                      </c:pt>
                      <c:pt idx="3">
                        <c:v>35</c:v>
                      </c:pt>
                      <c:pt idx="4">
                        <c:v>40</c:v>
                      </c:pt>
                      <c:pt idx="5">
                        <c:v>45</c:v>
                      </c:pt>
                      <c:pt idx="6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4:$AC$10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67.475000000000009</c:v>
                      </c:pt>
                      <c:pt idx="1">
                        <c:v>68.31</c:v>
                      </c:pt>
                      <c:pt idx="2">
                        <c:v>69.14500000000001</c:v>
                      </c:pt>
                      <c:pt idx="3">
                        <c:v>69.975000000000009</c:v>
                      </c:pt>
                      <c:pt idx="4">
                        <c:v>70.81</c:v>
                      </c:pt>
                      <c:pt idx="5">
                        <c:v>71.644999999999996</c:v>
                      </c:pt>
                      <c:pt idx="6">
                        <c:v>72.4750000000000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7C36-491D-9064-745570F9D103}"/>
                  </c:ext>
                </c:extLst>
              </c15:ser>
            </c15:filteredScatterSeries>
          </c:ext>
        </c:extLst>
      </c:scatterChart>
      <c:valAx>
        <c:axId val="436408816"/>
        <c:scaling>
          <c:orientation val="minMax"/>
          <c:max val="1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Vehicle Speed [km/h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12144"/>
        <c:crosses val="autoZero"/>
        <c:crossBetween val="midCat"/>
      </c:valAx>
      <c:valAx>
        <c:axId val="436412144"/>
        <c:scaling>
          <c:orientation val="minMax"/>
          <c:max val="110"/>
          <c:min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Sound Pressure Level [dB(A)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08816"/>
        <c:crosses val="autoZero"/>
        <c:crossBetween val="midCat"/>
      </c:valAx>
      <c:spPr>
        <a:noFill/>
        <a:ln>
          <a:noFill/>
          <a:extLst>
            <a:ext uri="{C807C97D-BFC1-408E-A445-0C87EB9F89A2}">
              <ask:lineSketchStyleProps xmlns:ask="http://schemas.microsoft.com/office/drawing/2018/sketchyshapes">
                <ask:type>
                  <ask:lineSketchFreehand/>
                </ask:type>
              </ask:lineSketchStyleProps>
            </a:ext>
          </a:extLst>
        </a:ln>
        <a:effectLst/>
      </c:spPr>
    </c:plotArea>
    <c:legend>
      <c:legendPos val="b"/>
      <c:layout>
        <c:manualLayout>
          <c:xMode val="edge"/>
          <c:yMode val="edge"/>
          <c:x val="8.6537103174603183E-2"/>
          <c:y val="0.12463794585727403"/>
          <c:w val="0.26604503968253967"/>
          <c:h val="0.17899722222222222"/>
        </c:manualLayout>
      </c:layout>
      <c:overlay val="0"/>
      <c:spPr>
        <a:solidFill>
          <a:schemeClr val="bg1">
            <a:lumMod val="95000"/>
          </a:schemeClr>
        </a:solidFill>
        <a:ln>
          <a:solidFill>
            <a:schemeClr val="bg1">
              <a:lumMod val="75000"/>
            </a:schemeClr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 err="1"/>
              <a:t>Matching</a:t>
            </a:r>
            <a:r>
              <a:rPr lang="de-DE" dirty="0"/>
              <a:t> UN R138 </a:t>
            </a:r>
            <a:r>
              <a:rPr lang="de-DE" dirty="0" err="1"/>
              <a:t>with</a:t>
            </a:r>
            <a:r>
              <a:rPr lang="de-DE" dirty="0"/>
              <a:t> UN R51.03 ASEP</a:t>
            </a:r>
          </a:p>
        </c:rich>
      </c:tx>
      <c:layout>
        <c:manualLayout>
          <c:xMode val="edge"/>
          <c:yMode val="edge"/>
          <c:x val="0.32702869496855347"/>
          <c:y val="3.05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8068948412698416E-2"/>
          <c:y val="0.10240172078092773"/>
          <c:w val="0.89658144841269838"/>
          <c:h val="0.79557794796631254"/>
        </c:manualLayout>
      </c:layout>
      <c:scatterChart>
        <c:scatterStyle val="lineMarker"/>
        <c:varyColors val="0"/>
        <c:ser>
          <c:idx val="4"/>
          <c:order val="6"/>
          <c:tx>
            <c:v>UN R138 MAX SPL</c:v>
          </c:tx>
          <c:spPr>
            <a:ln w="3810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trendline>
            <c:name>UN R138 NEW MAX SPL</c:name>
            <c:spPr>
              <a:ln w="38100" cap="rnd">
                <a:solidFill>
                  <a:srgbClr val="00B0F0"/>
                </a:solidFill>
                <a:prstDash val="sysDash"/>
              </a:ln>
              <a:effectLst/>
            </c:spPr>
            <c:trendlineType val="linear"/>
            <c:forward val="30"/>
            <c:dispRSqr val="0"/>
            <c:dispEq val="0"/>
          </c:trendline>
          <c:xVal>
            <c:numRef>
              <c:f>'MIN SAFETY'!$O$30:$O$32</c:f>
              <c:numCache>
                <c:formatCode>General</c:formatCode>
                <c:ptCount val="3"/>
                <c:pt idx="0" formatCode="0.0">
                  <c:v>0</c:v>
                </c:pt>
                <c:pt idx="1">
                  <c:v>10</c:v>
                </c:pt>
                <c:pt idx="2">
                  <c:v>20</c:v>
                </c:pt>
              </c:numCache>
            </c:numRef>
          </c:xVal>
          <c:yVal>
            <c:numRef>
              <c:f>'MIN SAFETY'!$P$30:$P$32</c:f>
              <c:numCache>
                <c:formatCode>General</c:formatCode>
                <c:ptCount val="3"/>
                <c:pt idx="0" formatCode="0.0">
                  <c:v>66</c:v>
                </c:pt>
                <c:pt idx="1">
                  <c:v>66</c:v>
                </c:pt>
                <c:pt idx="2">
                  <c:v>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243-4553-A757-4D51C5FF54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6408816"/>
        <c:axId val="43641214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v>CRUISE</c:v>
                </c:tx>
                <c:spPr>
                  <a:ln w="25400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MIN SAFETY'!$C$7:$C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39.07715318164081</c:v>
                      </c:pt>
                      <c:pt idx="1">
                        <c:v>42.312824452710153</c:v>
                      </c:pt>
                      <c:pt idx="2">
                        <c:v>45.639636681975475</c:v>
                      </c:pt>
                      <c:pt idx="3">
                        <c:v>48.303469669506498</c:v>
                      </c:pt>
                      <c:pt idx="4">
                        <c:v>50.512609621468975</c:v>
                      </c:pt>
                      <c:pt idx="5">
                        <c:v>52.402250882171316</c:v>
                      </c:pt>
                      <c:pt idx="6">
                        <c:v>54.056932193540817</c:v>
                      </c:pt>
                      <c:pt idx="7">
                        <c:v>55.531714350332848</c:v>
                      </c:pt>
                      <c:pt idx="8">
                        <c:v>56.864169126186987</c:v>
                      </c:pt>
                      <c:pt idx="9">
                        <c:v>58.081015864890716</c:v>
                      </c:pt>
                      <c:pt idx="10">
                        <c:v>59.201930734866266</c:v>
                      </c:pt>
                      <c:pt idx="11">
                        <c:v>60.24183285088629</c:v>
                      </c:pt>
                      <c:pt idx="12">
                        <c:v>61.212315642826155</c:v>
                      </c:pt>
                      <c:pt idx="13">
                        <c:v>62.122577611321503</c:v>
                      </c:pt>
                      <c:pt idx="14">
                        <c:v>62.980047996840668</c:v>
                      </c:pt>
                      <c:pt idx="15">
                        <c:v>63.790819766503489</c:v>
                      </c:pt>
                      <c:pt idx="16">
                        <c:v>64.559956990352845</c:v>
                      </c:pt>
                      <c:pt idx="17">
                        <c:v>65.291717997536821</c:v>
                      </c:pt>
                      <c:pt idx="18">
                        <c:v>65.989720636628675</c:v>
                      </c:pt>
                      <c:pt idx="19">
                        <c:v>66.65706684062375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9243-4553-A757-4D51C5FF54B2}"/>
                  </c:ext>
                </c:extLst>
              </c15:ser>
            </c15:filteredScatterSeries>
            <c15:filteredScatterSeries>
              <c15:ser>
                <c:idx val="9"/>
                <c:order val="1"/>
                <c:tx>
                  <c:v>ACC 5.0 m/s²</c:v>
                </c:tx>
                <c:spPr>
                  <a:ln w="2540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7:$M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3.419243045860078</c:v>
                      </c:pt>
                      <c:pt idx="1">
                        <c:v>54.666026131391135</c:v>
                      </c:pt>
                      <c:pt idx="2">
                        <c:v>56.080086462829186</c:v>
                      </c:pt>
                      <c:pt idx="3">
                        <c:v>57.363550882214952</c:v>
                      </c:pt>
                      <c:pt idx="4">
                        <c:v>58.53996996273419</c:v>
                      </c:pt>
                      <c:pt idx="5">
                        <c:v>59.626901169764963</c:v>
                      </c:pt>
                      <c:pt idx="6">
                        <c:v>60.637795358209623</c:v>
                      </c:pt>
                      <c:pt idx="7">
                        <c:v>61.583196627979873</c:v>
                      </c:pt>
                      <c:pt idx="8">
                        <c:v>62.471533393842613</c:v>
                      </c:pt>
                      <c:pt idx="9">
                        <c:v>63.309656623959199</c:v>
                      </c:pt>
                      <c:pt idx="10">
                        <c:v>64.103216287046052</c:v>
                      </c:pt>
                      <c:pt idx="11">
                        <c:v>64.85693109127601</c:v>
                      </c:pt>
                      <c:pt idx="12">
                        <c:v>65.574785933347613</c:v>
                      </c:pt>
                      <c:pt idx="13">
                        <c:v>66.260179193427831</c:v>
                      </c:pt>
                      <c:pt idx="14">
                        <c:v>66.916034485179637</c:v>
                      </c:pt>
                      <c:pt idx="15">
                        <c:v>67.544886729380977</c:v>
                      </c:pt>
                      <c:pt idx="16">
                        <c:v>68.148949358401765</c:v>
                      </c:pt>
                      <c:pt idx="17">
                        <c:v>68.730167436997988</c:v>
                      </c:pt>
                      <c:pt idx="18">
                        <c:v>69.290260121947313</c:v>
                      </c:pt>
                      <c:pt idx="19">
                        <c:v>69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9243-4553-A757-4D51C5FF54B2}"/>
                  </c:ext>
                </c:extLst>
              </c15:ser>
            </c15:filteredScatterSeries>
            <c15:filteredScatterSeries>
              <c15:ser>
                <c:idx val="1"/>
                <c:order val="2"/>
                <c:tx>
                  <c:v>CRUISE incl Margin</c:v>
                </c:tx>
                <c:spPr>
                  <a:ln w="25400" cap="rnd">
                    <a:solidFill>
                      <a:srgbClr val="00B050"/>
                    </a:solidFill>
                    <a:prstDash val="solid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C$33:$C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45.07715318164081</c:v>
                      </c:pt>
                      <c:pt idx="1">
                        <c:v>48.312824452710153</c:v>
                      </c:pt>
                      <c:pt idx="2">
                        <c:v>51.639636681975475</c:v>
                      </c:pt>
                      <c:pt idx="3">
                        <c:v>54.303469669506498</c:v>
                      </c:pt>
                      <c:pt idx="4">
                        <c:v>56.512609621468975</c:v>
                      </c:pt>
                      <c:pt idx="5">
                        <c:v>58.402250882171316</c:v>
                      </c:pt>
                      <c:pt idx="6">
                        <c:v>60.056932193540817</c:v>
                      </c:pt>
                      <c:pt idx="7">
                        <c:v>61.531714350332848</c:v>
                      </c:pt>
                      <c:pt idx="8">
                        <c:v>62.864169126186987</c:v>
                      </c:pt>
                      <c:pt idx="9">
                        <c:v>64.081015864890716</c:v>
                      </c:pt>
                      <c:pt idx="10">
                        <c:v>65.201930734866266</c:v>
                      </c:pt>
                      <c:pt idx="11">
                        <c:v>66.241832850886283</c:v>
                      </c:pt>
                      <c:pt idx="12">
                        <c:v>67.212315642826155</c:v>
                      </c:pt>
                      <c:pt idx="13">
                        <c:v>68.122577611321503</c:v>
                      </c:pt>
                      <c:pt idx="14">
                        <c:v>68.980047996840668</c:v>
                      </c:pt>
                      <c:pt idx="15">
                        <c:v>69.790819766503489</c:v>
                      </c:pt>
                      <c:pt idx="16">
                        <c:v>70.559956990352845</c:v>
                      </c:pt>
                      <c:pt idx="17">
                        <c:v>71.291717997536821</c:v>
                      </c:pt>
                      <c:pt idx="18">
                        <c:v>71.989720636628675</c:v>
                      </c:pt>
                      <c:pt idx="19">
                        <c:v>72.65706684062375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9243-4553-A757-4D51C5FF54B2}"/>
                  </c:ext>
                </c:extLst>
              </c15:ser>
            </c15:filteredScatterSeries>
            <c15:filteredScatterSeries>
              <c15:ser>
                <c:idx val="2"/>
                <c:order val="3"/>
                <c:tx>
                  <c:v>ACC 5.0 m/s² incl Margin</c:v>
                </c:tx>
                <c:spPr>
                  <a:ln w="25400" cap="rnd">
                    <a:solidFill>
                      <a:srgbClr val="00B05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33:$M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9.419243045860078</c:v>
                      </c:pt>
                      <c:pt idx="1">
                        <c:v>60.666026131391135</c:v>
                      </c:pt>
                      <c:pt idx="2">
                        <c:v>62.080086462829186</c:v>
                      </c:pt>
                      <c:pt idx="3">
                        <c:v>63.363550882214952</c:v>
                      </c:pt>
                      <c:pt idx="4">
                        <c:v>64.53996996273419</c:v>
                      </c:pt>
                      <c:pt idx="5">
                        <c:v>65.626901169764963</c:v>
                      </c:pt>
                      <c:pt idx="6">
                        <c:v>66.637795358209615</c:v>
                      </c:pt>
                      <c:pt idx="7">
                        <c:v>67.583196627979873</c:v>
                      </c:pt>
                      <c:pt idx="8">
                        <c:v>68.471533393842606</c:v>
                      </c:pt>
                      <c:pt idx="9">
                        <c:v>69.309656623959199</c:v>
                      </c:pt>
                      <c:pt idx="10">
                        <c:v>70.103216287046052</c:v>
                      </c:pt>
                      <c:pt idx="11">
                        <c:v>70.85693109127601</c:v>
                      </c:pt>
                      <c:pt idx="12">
                        <c:v>71.574785933347613</c:v>
                      </c:pt>
                      <c:pt idx="13">
                        <c:v>72.260179193427831</c:v>
                      </c:pt>
                      <c:pt idx="14">
                        <c:v>72.916034485179637</c:v>
                      </c:pt>
                      <c:pt idx="15">
                        <c:v>73.544886729380977</c:v>
                      </c:pt>
                      <c:pt idx="16">
                        <c:v>74.148949358401765</c:v>
                      </c:pt>
                      <c:pt idx="17">
                        <c:v>74.730167436997988</c:v>
                      </c:pt>
                      <c:pt idx="18">
                        <c:v>75.290260121947313</c:v>
                      </c:pt>
                      <c:pt idx="19">
                        <c:v>75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9243-4553-A757-4D51C5FF54B2}"/>
                  </c:ext>
                </c:extLst>
              </c15:ser>
            </c15:filteredScatterSeries>
            <c15:filteredScatterSeries>
              <c15:ser>
                <c:idx val="3"/>
                <c:order val="4"/>
                <c:tx>
                  <c:v>ASEP BORDER</c:v>
                </c:tx>
                <c:spPr>
                  <a:ln w="3175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10:$Z$16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50</c:v>
                      </c:pt>
                      <c:pt idx="1">
                        <c:v>54.33</c:v>
                      </c:pt>
                      <c:pt idx="2">
                        <c:v>60</c:v>
                      </c:pt>
                      <c:pt idx="3">
                        <c:v>65</c:v>
                      </c:pt>
                      <c:pt idx="4">
                        <c:v>70</c:v>
                      </c:pt>
                      <c:pt idx="5">
                        <c:v>75</c:v>
                      </c:pt>
                      <c:pt idx="6">
                        <c:v>8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10:$AC$16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72.475000000000009</c:v>
                      </c:pt>
                      <c:pt idx="1">
                        <c:v>73.2</c:v>
                      </c:pt>
                      <c:pt idx="2">
                        <c:v>74.522999999999996</c:v>
                      </c:pt>
                      <c:pt idx="3">
                        <c:v>75.685000000000002</c:v>
                      </c:pt>
                      <c:pt idx="4">
                        <c:v>76.853999999999999</c:v>
                      </c:pt>
                      <c:pt idx="5">
                        <c:v>78.022999999999996</c:v>
                      </c:pt>
                      <c:pt idx="6">
                        <c:v>79.185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9243-4553-A757-4D51C5FF54B2}"/>
                  </c:ext>
                </c:extLst>
              </c15:ser>
            </c15:filteredScatterSeries>
            <c15:filteredScatterSeries>
              <c15:ser>
                <c:idx val="6"/>
                <c:order val="5"/>
                <c:tx>
                  <c:v>Draft UN R138.02 Max Sound</c:v>
                </c:tx>
                <c:spPr>
                  <a:ln w="31750" cap="rnd">
                    <a:solidFill>
                      <a:srgbClr val="00B0F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F$13:$AF$2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</c:v>
                      </c:pt>
                      <c:pt idx="1">
                        <c:v>10</c:v>
                      </c:pt>
                      <c:pt idx="2">
                        <c:v>20</c:v>
                      </c:pt>
                      <c:pt idx="3">
                        <c:v>30</c:v>
                      </c:pt>
                      <c:pt idx="4">
                        <c:v>32</c:v>
                      </c:pt>
                      <c:pt idx="5">
                        <c:v>40</c:v>
                      </c:pt>
                      <c:pt idx="6">
                        <c:v>50</c:v>
                      </c:pt>
                      <c:pt idx="7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G$13:$AG$2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66</c:v>
                      </c:pt>
                      <c:pt idx="1">
                        <c:v>66</c:v>
                      </c:pt>
                      <c:pt idx="2">
                        <c:v>66</c:v>
                      </c:pt>
                      <c:pt idx="3">
                        <c:v>66</c:v>
                      </c:pt>
                      <c:pt idx="4">
                        <c:v>66</c:v>
                      </c:pt>
                      <c:pt idx="5">
                        <c:v>57.56</c:v>
                      </c:pt>
                      <c:pt idx="6">
                        <c:v>47</c:v>
                      </c:pt>
                      <c:pt idx="7">
                        <c:v>0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9243-4553-A757-4D51C5FF54B2}"/>
                  </c:ext>
                </c:extLst>
              </c15:ser>
            </c15:filteredScatterSeries>
            <c15:filteredScatterSeries>
              <c15:ser>
                <c:idx val="5"/>
                <c:order val="7"/>
                <c:tx>
                  <c:v>Test Data</c:v>
                </c:tx>
                <c:spPr>
                  <a:ln w="19050" cap="rnd">
                    <a:noFill/>
                    <a:round/>
                  </a:ln>
                  <a:effectLst/>
                </c:spPr>
                <c:marker>
                  <c:symbol val="circle"/>
                  <c:size val="10"/>
                  <c:spPr>
                    <a:solidFill>
                      <a:schemeClr val="tx2">
                        <a:lumMod val="20000"/>
                        <a:lumOff val="80000"/>
                      </a:schemeClr>
                    </a:solidFill>
                    <a:ln w="9525">
                      <a:solidFill>
                        <a:schemeClr val="tx2">
                          <a:lumMod val="75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W$5:$W$64</c15:sqref>
                        </c15:formulaRef>
                      </c:ext>
                    </c:extLst>
                    <c:numCache>
                      <c:formatCode>0.0</c:formatCode>
                      <c:ptCount val="60"/>
                      <c:pt idx="0">
                        <c:v>33.5</c:v>
                      </c:pt>
                      <c:pt idx="1">
                        <c:v>37.200000000000003</c:v>
                      </c:pt>
                      <c:pt idx="2">
                        <c:v>42.4</c:v>
                      </c:pt>
                      <c:pt idx="3">
                        <c:v>48.6</c:v>
                      </c:pt>
                      <c:pt idx="4">
                        <c:v>57.1</c:v>
                      </c:pt>
                      <c:pt idx="5">
                        <c:v>65.099999999999994</c:v>
                      </c:pt>
                      <c:pt idx="6">
                        <c:v>74</c:v>
                      </c:pt>
                      <c:pt idx="7">
                        <c:v>83.7</c:v>
                      </c:pt>
                      <c:pt idx="8">
                        <c:v>92</c:v>
                      </c:pt>
                      <c:pt idx="9">
                        <c:v>100</c:v>
                      </c:pt>
                      <c:pt idx="10">
                        <c:v>33.799999999999997</c:v>
                      </c:pt>
                      <c:pt idx="11">
                        <c:v>37.200000000000003</c:v>
                      </c:pt>
                      <c:pt idx="12">
                        <c:v>41.8</c:v>
                      </c:pt>
                      <c:pt idx="13">
                        <c:v>49.3</c:v>
                      </c:pt>
                      <c:pt idx="14">
                        <c:v>55.9</c:v>
                      </c:pt>
                      <c:pt idx="15">
                        <c:v>64.5</c:v>
                      </c:pt>
                      <c:pt idx="16">
                        <c:v>73.900000000000006</c:v>
                      </c:pt>
                      <c:pt idx="17">
                        <c:v>82.9</c:v>
                      </c:pt>
                      <c:pt idx="18">
                        <c:v>91.5</c:v>
                      </c:pt>
                      <c:pt idx="19">
                        <c:v>99.4</c:v>
                      </c:pt>
                      <c:pt idx="20">
                        <c:v>53.1</c:v>
                      </c:pt>
                      <c:pt idx="21">
                        <c:v>55.7</c:v>
                      </c:pt>
                      <c:pt idx="22">
                        <c:v>58.5</c:v>
                      </c:pt>
                      <c:pt idx="23">
                        <c:v>63.5</c:v>
                      </c:pt>
                      <c:pt idx="24">
                        <c:v>70.7</c:v>
                      </c:pt>
                      <c:pt idx="25">
                        <c:v>78.8</c:v>
                      </c:pt>
                      <c:pt idx="26">
                        <c:v>85</c:v>
                      </c:pt>
                      <c:pt idx="27">
                        <c:v>91</c:v>
                      </c:pt>
                      <c:pt idx="28">
                        <c:v>92.9</c:v>
                      </c:pt>
                      <c:pt idx="29">
                        <c:v>100.2</c:v>
                      </c:pt>
                      <c:pt idx="30">
                        <c:v>91.2</c:v>
                      </c:pt>
                      <c:pt idx="31">
                        <c:v>84.1</c:v>
                      </c:pt>
                      <c:pt idx="32">
                        <c:v>99.9</c:v>
                      </c:pt>
                      <c:pt idx="33">
                        <c:v>54</c:v>
                      </c:pt>
                      <c:pt idx="34">
                        <c:v>54.4</c:v>
                      </c:pt>
                      <c:pt idx="35">
                        <c:v>54.6</c:v>
                      </c:pt>
                      <c:pt idx="36">
                        <c:v>54.3</c:v>
                      </c:pt>
                      <c:pt idx="37">
                        <c:v>50.1</c:v>
                      </c:pt>
                      <c:pt idx="38">
                        <c:v>49.8</c:v>
                      </c:pt>
                      <c:pt idx="39">
                        <c:v>49.9</c:v>
                      </c:pt>
                      <c:pt idx="40">
                        <c:v>49.7</c:v>
                      </c:pt>
                      <c:pt idx="41">
                        <c:v>10.6</c:v>
                      </c:pt>
                      <c:pt idx="42">
                        <c:v>20.2</c:v>
                      </c:pt>
                      <c:pt idx="43">
                        <c:v>31.2</c:v>
                      </c:pt>
                      <c:pt idx="44">
                        <c:v>30.6</c:v>
                      </c:pt>
                      <c:pt idx="45">
                        <c:v>40.299999999999997</c:v>
                      </c:pt>
                      <c:pt idx="46">
                        <c:v>50.1</c:v>
                      </c:pt>
                      <c:pt idx="47">
                        <c:v>60.4</c:v>
                      </c:pt>
                      <c:pt idx="48">
                        <c:v>70.599999999999994</c:v>
                      </c:pt>
                      <c:pt idx="49">
                        <c:v>79.599999999999994</c:v>
                      </c:pt>
                      <c:pt idx="50">
                        <c:v>90.1</c:v>
                      </c:pt>
                      <c:pt idx="51">
                        <c:v>98.8</c:v>
                      </c:pt>
                      <c:pt idx="52">
                        <c:v>38.4</c:v>
                      </c:pt>
                      <c:pt idx="53">
                        <c:v>66.3</c:v>
                      </c:pt>
                      <c:pt idx="54">
                        <c:v>78</c:v>
                      </c:pt>
                      <c:pt idx="55">
                        <c:v>54.2</c:v>
                      </c:pt>
                      <c:pt idx="56">
                        <c:v>89</c:v>
                      </c:pt>
                      <c:pt idx="57">
                        <c:v>87.3</c:v>
                      </c:pt>
                      <c:pt idx="58">
                        <c:v>88</c:v>
                      </c:pt>
                      <c:pt idx="59">
                        <c:v>87.8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X$5:$X$64</c15:sqref>
                        </c15:formulaRef>
                      </c:ext>
                    </c:extLst>
                    <c:numCache>
                      <c:formatCode>0.0</c:formatCode>
                      <c:ptCount val="60"/>
                      <c:pt idx="0">
                        <c:v>62</c:v>
                      </c:pt>
                      <c:pt idx="1">
                        <c:v>63</c:v>
                      </c:pt>
                      <c:pt idx="2">
                        <c:v>64.2</c:v>
                      </c:pt>
                      <c:pt idx="3">
                        <c:v>65.900000000000006</c:v>
                      </c:pt>
                      <c:pt idx="4">
                        <c:v>68.7</c:v>
                      </c:pt>
                      <c:pt idx="5">
                        <c:v>70.2</c:v>
                      </c:pt>
                      <c:pt idx="6">
                        <c:v>72.5</c:v>
                      </c:pt>
                      <c:pt idx="7">
                        <c:v>74.2</c:v>
                      </c:pt>
                      <c:pt idx="8">
                        <c:v>76.099999999999994</c:v>
                      </c:pt>
                      <c:pt idx="9">
                        <c:v>77.900000000000006</c:v>
                      </c:pt>
                      <c:pt idx="10">
                        <c:v>61.7</c:v>
                      </c:pt>
                      <c:pt idx="11">
                        <c:v>63.1</c:v>
                      </c:pt>
                      <c:pt idx="12">
                        <c:v>63</c:v>
                      </c:pt>
                      <c:pt idx="13">
                        <c:v>65.5</c:v>
                      </c:pt>
                      <c:pt idx="14">
                        <c:v>67.2</c:v>
                      </c:pt>
                      <c:pt idx="15">
                        <c:v>69.599999999999994</c:v>
                      </c:pt>
                      <c:pt idx="16">
                        <c:v>71.5</c:v>
                      </c:pt>
                      <c:pt idx="17">
                        <c:v>74.2</c:v>
                      </c:pt>
                      <c:pt idx="18">
                        <c:v>75.7</c:v>
                      </c:pt>
                      <c:pt idx="19">
                        <c:v>77.5</c:v>
                      </c:pt>
                      <c:pt idx="20">
                        <c:v>70.099999999999994</c:v>
                      </c:pt>
                      <c:pt idx="21">
                        <c:v>70.599999999999994</c:v>
                      </c:pt>
                      <c:pt idx="22">
                        <c:v>70.7</c:v>
                      </c:pt>
                      <c:pt idx="23">
                        <c:v>72.2</c:v>
                      </c:pt>
                      <c:pt idx="24">
                        <c:v>73.3</c:v>
                      </c:pt>
                      <c:pt idx="25">
                        <c:v>75.599999999999994</c:v>
                      </c:pt>
                      <c:pt idx="26">
                        <c:v>76.3</c:v>
                      </c:pt>
                      <c:pt idx="27">
                        <c:v>77.7</c:v>
                      </c:pt>
                      <c:pt idx="28">
                        <c:v>77.2</c:v>
                      </c:pt>
                      <c:pt idx="29">
                        <c:v>79.2</c:v>
                      </c:pt>
                      <c:pt idx="30">
                        <c:v>76.900000000000006</c:v>
                      </c:pt>
                      <c:pt idx="31">
                        <c:v>76.599999999999994</c:v>
                      </c:pt>
                      <c:pt idx="32">
                        <c:v>78.400000000000006</c:v>
                      </c:pt>
                      <c:pt idx="33">
                        <c:v>67.8</c:v>
                      </c:pt>
                      <c:pt idx="34">
                        <c:v>68</c:v>
                      </c:pt>
                      <c:pt idx="35">
                        <c:v>67.8</c:v>
                      </c:pt>
                      <c:pt idx="36">
                        <c:v>67.8</c:v>
                      </c:pt>
                      <c:pt idx="37">
                        <c:v>66.599999999999994</c:v>
                      </c:pt>
                      <c:pt idx="38">
                        <c:v>67.099999999999994</c:v>
                      </c:pt>
                      <c:pt idx="39">
                        <c:v>66.8</c:v>
                      </c:pt>
                      <c:pt idx="40">
                        <c:v>66.8</c:v>
                      </c:pt>
                      <c:pt idx="41">
                        <c:v>55.8</c:v>
                      </c:pt>
                      <c:pt idx="42">
                        <c:v>58.3</c:v>
                      </c:pt>
                      <c:pt idx="43">
                        <c:v>62</c:v>
                      </c:pt>
                      <c:pt idx="44">
                        <c:v>62</c:v>
                      </c:pt>
                      <c:pt idx="45">
                        <c:v>63.9</c:v>
                      </c:pt>
                      <c:pt idx="46">
                        <c:v>66.900000000000006</c:v>
                      </c:pt>
                      <c:pt idx="47">
                        <c:v>69.099999999999994</c:v>
                      </c:pt>
                      <c:pt idx="48">
                        <c:v>71.599999999999994</c:v>
                      </c:pt>
                      <c:pt idx="49">
                        <c:v>73.7</c:v>
                      </c:pt>
                      <c:pt idx="50">
                        <c:v>75.599999999999994</c:v>
                      </c:pt>
                      <c:pt idx="51">
                        <c:v>77.599999999999994</c:v>
                      </c:pt>
                      <c:pt idx="52">
                        <c:v>63.3</c:v>
                      </c:pt>
                      <c:pt idx="53">
                        <c:v>70.2</c:v>
                      </c:pt>
                      <c:pt idx="54">
                        <c:v>72.7</c:v>
                      </c:pt>
                      <c:pt idx="55">
                        <c:v>67.400000000000006</c:v>
                      </c:pt>
                      <c:pt idx="56">
                        <c:v>78.599999999999994</c:v>
                      </c:pt>
                      <c:pt idx="57">
                        <c:v>77.8</c:v>
                      </c:pt>
                      <c:pt idx="58">
                        <c:v>77.900000000000006</c:v>
                      </c:pt>
                      <c:pt idx="59">
                        <c:v>78.09999999999999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9243-4553-A757-4D51C5FF54B2}"/>
                  </c:ext>
                </c:extLst>
              </c15:ser>
            </c15:filteredScatterSeries>
            <c15:filteredScatterSeries>
              <c15:ser>
                <c:idx val="7"/>
                <c:order val="8"/>
                <c:tx>
                  <c:v>ASEP BORDER &lt; 50 km/h</c:v>
                </c:tx>
                <c:spPr>
                  <a:ln w="28575" cap="rnd">
                    <a:solidFill>
                      <a:schemeClr val="tx1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4:$Z$10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</c:v>
                      </c:pt>
                      <c:pt idx="1">
                        <c:v>25</c:v>
                      </c:pt>
                      <c:pt idx="2">
                        <c:v>30</c:v>
                      </c:pt>
                      <c:pt idx="3">
                        <c:v>35</c:v>
                      </c:pt>
                      <c:pt idx="4">
                        <c:v>40</c:v>
                      </c:pt>
                      <c:pt idx="5">
                        <c:v>45</c:v>
                      </c:pt>
                      <c:pt idx="6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4:$AC$10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67.475000000000009</c:v>
                      </c:pt>
                      <c:pt idx="1">
                        <c:v>68.31</c:v>
                      </c:pt>
                      <c:pt idx="2">
                        <c:v>69.14500000000001</c:v>
                      </c:pt>
                      <c:pt idx="3">
                        <c:v>69.975000000000009</c:v>
                      </c:pt>
                      <c:pt idx="4">
                        <c:v>70.81</c:v>
                      </c:pt>
                      <c:pt idx="5">
                        <c:v>71.644999999999996</c:v>
                      </c:pt>
                      <c:pt idx="6">
                        <c:v>72.4750000000000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9243-4553-A757-4D51C5FF54B2}"/>
                  </c:ext>
                </c:extLst>
              </c15:ser>
            </c15:filteredScatterSeries>
          </c:ext>
        </c:extLst>
      </c:scatterChart>
      <c:valAx>
        <c:axId val="436408816"/>
        <c:scaling>
          <c:orientation val="minMax"/>
          <c:max val="100"/>
        </c:scaling>
        <c:delete val="0"/>
        <c:axPos val="b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12144"/>
        <c:crosses val="autoZero"/>
        <c:crossBetween val="midCat"/>
      </c:valAx>
      <c:valAx>
        <c:axId val="436412144"/>
        <c:scaling>
          <c:orientation val="minMax"/>
          <c:max val="110"/>
          <c:min val="4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0881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6537103174603183E-2"/>
          <c:y val="0.12463794585727403"/>
          <c:w val="0.26604503968253967"/>
          <c:h val="0.17899722222222222"/>
        </c:manualLayout>
      </c:layout>
      <c:overlay val="0"/>
      <c:spPr>
        <a:solidFill>
          <a:schemeClr val="bg1">
            <a:lumMod val="95000"/>
          </a:schemeClr>
        </a:solidFill>
        <a:ln>
          <a:solidFill>
            <a:schemeClr val="bg1">
              <a:lumMod val="75000"/>
            </a:schemeClr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400" b="0" i="0" u="none" strike="noStrike" kern="1200" spc="0" baseline="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Matching</a:t>
            </a:r>
            <a:r>
              <a:rPr lang="de-DE" sz="1400" b="0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 UN R138 </a:t>
            </a:r>
            <a:r>
              <a:rPr lang="de-DE" sz="1400" b="0" i="0" u="none" strike="noStrike" kern="1200" spc="0" baseline="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with</a:t>
            </a:r>
            <a:r>
              <a:rPr lang="de-DE" sz="1400" b="0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 UN R51.03 ASEP</a:t>
            </a:r>
          </a:p>
        </c:rich>
      </c:tx>
      <c:layout>
        <c:manualLayout>
          <c:xMode val="edge"/>
          <c:yMode val="edge"/>
          <c:x val="0.30298519392033552"/>
          <c:y val="3.02380952380952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8068948412698416E-2"/>
          <c:y val="0.10240172078092773"/>
          <c:w val="0.89658144841269838"/>
          <c:h val="0.79557794796631254"/>
        </c:manualLayout>
      </c:layout>
      <c:scatterChart>
        <c:scatterStyle val="lineMarker"/>
        <c:varyColors val="0"/>
        <c:ser>
          <c:idx val="3"/>
          <c:order val="4"/>
          <c:tx>
            <c:v>ASEP BORDER</c:v>
          </c:tx>
          <c:spPr>
            <a:ln w="31750" cap="rnd">
              <a:solidFill>
                <a:srgbClr val="000000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31750" cap="rnd">
                <a:solidFill>
                  <a:srgbClr val="000000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13-4E76-858E-3ADD06CF0F1A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31750" cap="rnd">
                <a:solidFill>
                  <a:srgbClr val="000000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13-4E76-858E-3ADD06CF0F1A}"/>
              </c:ext>
            </c:extLst>
          </c:dPt>
          <c:xVal>
            <c:numRef>
              <c:f>'ASEP 1'!$AA$10:$AA$16</c:f>
              <c:numCache>
                <c:formatCode>General</c:formatCode>
                <c:ptCount val="7"/>
                <c:pt idx="0">
                  <c:v>50</c:v>
                </c:pt>
                <c:pt idx="1">
                  <c:v>55.748181818181813</c:v>
                </c:pt>
                <c:pt idx="2">
                  <c:v>60</c:v>
                </c:pt>
                <c:pt idx="3">
                  <c:v>65</c:v>
                </c:pt>
                <c:pt idx="4">
                  <c:v>70</c:v>
                </c:pt>
                <c:pt idx="5">
                  <c:v>75</c:v>
                </c:pt>
                <c:pt idx="6">
                  <c:v>80</c:v>
                </c:pt>
              </c:numCache>
            </c:numRef>
          </c:xVal>
          <c:yVal>
            <c:numRef>
              <c:f>'ASEP 1'!$AD$10:$AD$16</c:f>
              <c:numCache>
                <c:formatCode>0.0</c:formatCode>
                <c:ptCount val="7"/>
                <c:pt idx="0">
                  <c:v>72.530909090909091</c:v>
                </c:pt>
                <c:pt idx="1">
                  <c:v>73.490909090909085</c:v>
                </c:pt>
                <c:pt idx="2">
                  <c:v>74.484909090909085</c:v>
                </c:pt>
                <c:pt idx="3">
                  <c:v>75.646909090909091</c:v>
                </c:pt>
                <c:pt idx="4">
                  <c:v>76.815909090909088</c:v>
                </c:pt>
                <c:pt idx="5">
                  <c:v>77.984909090909085</c:v>
                </c:pt>
                <c:pt idx="6">
                  <c:v>79.1469090909090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B413-4E76-858E-3ADD06CF0F1A}"/>
            </c:ext>
          </c:extLst>
        </c:ser>
        <c:ser>
          <c:idx val="4"/>
          <c:order val="6"/>
          <c:tx>
            <c:v>UN R138 MAX SPL</c:v>
          </c:tx>
          <c:spPr>
            <a:ln w="3810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xVal>
            <c:numRef>
              <c:f>'MIN SAFETY'!$O$30:$O$32</c:f>
              <c:numCache>
                <c:formatCode>General</c:formatCode>
                <c:ptCount val="3"/>
                <c:pt idx="0" formatCode="0.0">
                  <c:v>0</c:v>
                </c:pt>
                <c:pt idx="1">
                  <c:v>10</c:v>
                </c:pt>
                <c:pt idx="2">
                  <c:v>20</c:v>
                </c:pt>
              </c:numCache>
            </c:numRef>
          </c:xVal>
          <c:yVal>
            <c:numRef>
              <c:f>'MIN SAFETY'!$P$30:$P$32</c:f>
              <c:numCache>
                <c:formatCode>General</c:formatCode>
                <c:ptCount val="3"/>
                <c:pt idx="0" formatCode="0.0">
                  <c:v>66</c:v>
                </c:pt>
                <c:pt idx="1">
                  <c:v>66</c:v>
                </c:pt>
                <c:pt idx="2">
                  <c:v>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B413-4E76-858E-3ADD06CF0F1A}"/>
            </c:ext>
          </c:extLst>
        </c:ser>
        <c:ser>
          <c:idx val="7"/>
          <c:order val="7"/>
          <c:tx>
            <c:v>ASEP BORDER &lt; 50 km/h</c:v>
          </c:tx>
          <c:spPr>
            <a:ln w="28575" cap="rnd">
              <a:solidFill>
                <a:srgbClr val="000000"/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'ASEP 1'!$AA$4:$AA$10</c:f>
              <c:numCache>
                <c:formatCode>General</c:formatCode>
                <c:ptCount val="7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35</c:v>
                </c:pt>
                <c:pt idx="4">
                  <c:v>40</c:v>
                </c:pt>
                <c:pt idx="5">
                  <c:v>45</c:v>
                </c:pt>
                <c:pt idx="6">
                  <c:v>50</c:v>
                </c:pt>
              </c:numCache>
            </c:numRef>
          </c:xVal>
          <c:yVal>
            <c:numRef>
              <c:f>'ASEP 1'!$AD$4:$AD$10</c:f>
              <c:numCache>
                <c:formatCode>0.0</c:formatCode>
                <c:ptCount val="7"/>
                <c:pt idx="0">
                  <c:v>67.530909090909091</c:v>
                </c:pt>
                <c:pt idx="1">
                  <c:v>68.365909090909085</c:v>
                </c:pt>
                <c:pt idx="2">
                  <c:v>69.200909090909079</c:v>
                </c:pt>
                <c:pt idx="3">
                  <c:v>70.030909090909091</c:v>
                </c:pt>
                <c:pt idx="4">
                  <c:v>70.865909090909085</c:v>
                </c:pt>
                <c:pt idx="5">
                  <c:v>71.700909090909079</c:v>
                </c:pt>
                <c:pt idx="6">
                  <c:v>72.5309090909090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B413-4E76-858E-3ADD06CF0F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6408816"/>
        <c:axId val="43641214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v>CRUISE</c:v>
                </c:tx>
                <c:spPr>
                  <a:ln w="25400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MIN SAFETY'!$C$7:$C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39.07715318164081</c:v>
                      </c:pt>
                      <c:pt idx="1">
                        <c:v>42.312824452710153</c:v>
                      </c:pt>
                      <c:pt idx="2">
                        <c:v>45.639636681975475</c:v>
                      </c:pt>
                      <c:pt idx="3">
                        <c:v>48.303469669506498</c:v>
                      </c:pt>
                      <c:pt idx="4">
                        <c:v>50.512609621468975</c:v>
                      </c:pt>
                      <c:pt idx="5">
                        <c:v>52.402250882171316</c:v>
                      </c:pt>
                      <c:pt idx="6">
                        <c:v>54.056932193540817</c:v>
                      </c:pt>
                      <c:pt idx="7">
                        <c:v>55.531714350332848</c:v>
                      </c:pt>
                      <c:pt idx="8">
                        <c:v>56.864169126186987</c:v>
                      </c:pt>
                      <c:pt idx="9">
                        <c:v>58.081015864890716</c:v>
                      </c:pt>
                      <c:pt idx="10">
                        <c:v>59.201930734866266</c:v>
                      </c:pt>
                      <c:pt idx="11">
                        <c:v>60.24183285088629</c:v>
                      </c:pt>
                      <c:pt idx="12">
                        <c:v>61.212315642826155</c:v>
                      </c:pt>
                      <c:pt idx="13">
                        <c:v>62.122577611321503</c:v>
                      </c:pt>
                      <c:pt idx="14">
                        <c:v>62.980047996840668</c:v>
                      </c:pt>
                      <c:pt idx="15">
                        <c:v>63.790819766503489</c:v>
                      </c:pt>
                      <c:pt idx="16">
                        <c:v>64.559956990352845</c:v>
                      </c:pt>
                      <c:pt idx="17">
                        <c:v>65.291717997536821</c:v>
                      </c:pt>
                      <c:pt idx="18">
                        <c:v>65.989720636628675</c:v>
                      </c:pt>
                      <c:pt idx="19">
                        <c:v>66.65706684062375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7-B413-4E76-858E-3ADD06CF0F1A}"/>
                  </c:ext>
                </c:extLst>
              </c15:ser>
            </c15:filteredScatterSeries>
            <c15:filteredScatterSeries>
              <c15:ser>
                <c:idx val="9"/>
                <c:order val="1"/>
                <c:tx>
                  <c:v>ACC 5.0 m/s²</c:v>
                </c:tx>
                <c:spPr>
                  <a:ln w="2540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7:$M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3.419243045860078</c:v>
                      </c:pt>
                      <c:pt idx="1">
                        <c:v>54.666026131391135</c:v>
                      </c:pt>
                      <c:pt idx="2">
                        <c:v>56.080086462829186</c:v>
                      </c:pt>
                      <c:pt idx="3">
                        <c:v>57.363550882214952</c:v>
                      </c:pt>
                      <c:pt idx="4">
                        <c:v>58.53996996273419</c:v>
                      </c:pt>
                      <c:pt idx="5">
                        <c:v>59.626901169764963</c:v>
                      </c:pt>
                      <c:pt idx="6">
                        <c:v>60.637795358209623</c:v>
                      </c:pt>
                      <c:pt idx="7">
                        <c:v>61.583196627979873</c:v>
                      </c:pt>
                      <c:pt idx="8">
                        <c:v>62.471533393842613</c:v>
                      </c:pt>
                      <c:pt idx="9">
                        <c:v>63.309656623959199</c:v>
                      </c:pt>
                      <c:pt idx="10">
                        <c:v>64.103216287046052</c:v>
                      </c:pt>
                      <c:pt idx="11">
                        <c:v>64.85693109127601</c:v>
                      </c:pt>
                      <c:pt idx="12">
                        <c:v>65.574785933347613</c:v>
                      </c:pt>
                      <c:pt idx="13">
                        <c:v>66.260179193427831</c:v>
                      </c:pt>
                      <c:pt idx="14">
                        <c:v>66.916034485179637</c:v>
                      </c:pt>
                      <c:pt idx="15">
                        <c:v>67.544886729380977</c:v>
                      </c:pt>
                      <c:pt idx="16">
                        <c:v>68.148949358401765</c:v>
                      </c:pt>
                      <c:pt idx="17">
                        <c:v>68.730167436997988</c:v>
                      </c:pt>
                      <c:pt idx="18">
                        <c:v>69.290260121947313</c:v>
                      </c:pt>
                      <c:pt idx="19">
                        <c:v>69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B413-4E76-858E-3ADD06CF0F1A}"/>
                  </c:ext>
                </c:extLst>
              </c15:ser>
            </c15:filteredScatterSeries>
            <c15:filteredScatterSeries>
              <c15:ser>
                <c:idx val="1"/>
                <c:order val="2"/>
                <c:tx>
                  <c:v>CRUISE incl Margin</c:v>
                </c:tx>
                <c:spPr>
                  <a:ln w="25400" cap="rnd">
                    <a:solidFill>
                      <a:srgbClr val="00B050"/>
                    </a:solidFill>
                    <a:prstDash val="solid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C$33:$C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45.07715318164081</c:v>
                      </c:pt>
                      <c:pt idx="1">
                        <c:v>48.312824452710153</c:v>
                      </c:pt>
                      <c:pt idx="2">
                        <c:v>51.639636681975475</c:v>
                      </c:pt>
                      <c:pt idx="3">
                        <c:v>54.303469669506498</c:v>
                      </c:pt>
                      <c:pt idx="4">
                        <c:v>56.512609621468975</c:v>
                      </c:pt>
                      <c:pt idx="5">
                        <c:v>58.402250882171316</c:v>
                      </c:pt>
                      <c:pt idx="6">
                        <c:v>60.056932193540817</c:v>
                      </c:pt>
                      <c:pt idx="7">
                        <c:v>61.531714350332848</c:v>
                      </c:pt>
                      <c:pt idx="8">
                        <c:v>62.864169126186987</c:v>
                      </c:pt>
                      <c:pt idx="9">
                        <c:v>64.081015864890716</c:v>
                      </c:pt>
                      <c:pt idx="10">
                        <c:v>65.201930734866266</c:v>
                      </c:pt>
                      <c:pt idx="11">
                        <c:v>66.241832850886283</c:v>
                      </c:pt>
                      <c:pt idx="12">
                        <c:v>67.212315642826155</c:v>
                      </c:pt>
                      <c:pt idx="13">
                        <c:v>68.122577611321503</c:v>
                      </c:pt>
                      <c:pt idx="14">
                        <c:v>68.980047996840668</c:v>
                      </c:pt>
                      <c:pt idx="15">
                        <c:v>69.790819766503489</c:v>
                      </c:pt>
                      <c:pt idx="16">
                        <c:v>70.559956990352845</c:v>
                      </c:pt>
                      <c:pt idx="17">
                        <c:v>71.291717997536821</c:v>
                      </c:pt>
                      <c:pt idx="18">
                        <c:v>71.989720636628675</c:v>
                      </c:pt>
                      <c:pt idx="19">
                        <c:v>72.65706684062375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B413-4E76-858E-3ADD06CF0F1A}"/>
                  </c:ext>
                </c:extLst>
              </c15:ser>
            </c15:filteredScatterSeries>
            <c15:filteredScatterSeries>
              <c15:ser>
                <c:idx val="2"/>
                <c:order val="3"/>
                <c:tx>
                  <c:v>ACC 5.0 m/s² incl Margin</c:v>
                </c:tx>
                <c:spPr>
                  <a:ln w="25400" cap="rnd">
                    <a:solidFill>
                      <a:srgbClr val="00B05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33:$M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9.419243045860078</c:v>
                      </c:pt>
                      <c:pt idx="1">
                        <c:v>60.666026131391135</c:v>
                      </c:pt>
                      <c:pt idx="2">
                        <c:v>62.080086462829186</c:v>
                      </c:pt>
                      <c:pt idx="3">
                        <c:v>63.363550882214952</c:v>
                      </c:pt>
                      <c:pt idx="4">
                        <c:v>64.53996996273419</c:v>
                      </c:pt>
                      <c:pt idx="5">
                        <c:v>65.626901169764963</c:v>
                      </c:pt>
                      <c:pt idx="6">
                        <c:v>66.637795358209615</c:v>
                      </c:pt>
                      <c:pt idx="7">
                        <c:v>67.583196627979873</c:v>
                      </c:pt>
                      <c:pt idx="8">
                        <c:v>68.471533393842606</c:v>
                      </c:pt>
                      <c:pt idx="9">
                        <c:v>69.309656623959199</c:v>
                      </c:pt>
                      <c:pt idx="10">
                        <c:v>70.103216287046052</c:v>
                      </c:pt>
                      <c:pt idx="11">
                        <c:v>70.85693109127601</c:v>
                      </c:pt>
                      <c:pt idx="12">
                        <c:v>71.574785933347613</c:v>
                      </c:pt>
                      <c:pt idx="13">
                        <c:v>72.260179193427831</c:v>
                      </c:pt>
                      <c:pt idx="14">
                        <c:v>72.916034485179637</c:v>
                      </c:pt>
                      <c:pt idx="15">
                        <c:v>73.544886729380977</c:v>
                      </c:pt>
                      <c:pt idx="16">
                        <c:v>74.148949358401765</c:v>
                      </c:pt>
                      <c:pt idx="17">
                        <c:v>74.730167436997988</c:v>
                      </c:pt>
                      <c:pt idx="18">
                        <c:v>75.290260121947313</c:v>
                      </c:pt>
                      <c:pt idx="19">
                        <c:v>75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B413-4E76-858E-3ADD06CF0F1A}"/>
                  </c:ext>
                </c:extLst>
              </c15:ser>
            </c15:filteredScatterSeries>
            <c15:filteredScatterSeries>
              <c15:ser>
                <c:idx val="6"/>
                <c:order val="5"/>
                <c:tx>
                  <c:v>Draft UN R138.02 Max Sound</c:v>
                </c:tx>
                <c:spPr>
                  <a:ln w="31750" cap="rnd">
                    <a:solidFill>
                      <a:srgbClr val="00B0F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G$13:$AG$2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</c:v>
                      </c:pt>
                      <c:pt idx="1">
                        <c:v>10</c:v>
                      </c:pt>
                      <c:pt idx="2">
                        <c:v>20</c:v>
                      </c:pt>
                      <c:pt idx="3">
                        <c:v>30</c:v>
                      </c:pt>
                      <c:pt idx="4">
                        <c:v>32</c:v>
                      </c:pt>
                      <c:pt idx="5">
                        <c:v>40</c:v>
                      </c:pt>
                      <c:pt idx="6">
                        <c:v>50</c:v>
                      </c:pt>
                      <c:pt idx="7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H$13:$AH$2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66</c:v>
                      </c:pt>
                      <c:pt idx="1">
                        <c:v>66</c:v>
                      </c:pt>
                      <c:pt idx="2">
                        <c:v>66</c:v>
                      </c:pt>
                      <c:pt idx="3">
                        <c:v>66</c:v>
                      </c:pt>
                      <c:pt idx="4">
                        <c:v>66</c:v>
                      </c:pt>
                      <c:pt idx="5">
                        <c:v>57.56</c:v>
                      </c:pt>
                      <c:pt idx="6">
                        <c:v>47</c:v>
                      </c:pt>
                      <c:pt idx="7">
                        <c:v>0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B413-4E76-858E-3ADD06CF0F1A}"/>
                  </c:ext>
                </c:extLst>
              </c15:ser>
            </c15:filteredScatterSeries>
          </c:ext>
        </c:extLst>
      </c:scatterChart>
      <c:valAx>
        <c:axId val="436408816"/>
        <c:scaling>
          <c:orientation val="minMax"/>
          <c:max val="1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dirty="0"/>
                  <a:t>Vehicle Speed [km/h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12144"/>
        <c:crosses val="autoZero"/>
        <c:crossBetween val="midCat"/>
      </c:valAx>
      <c:valAx>
        <c:axId val="436412144"/>
        <c:scaling>
          <c:orientation val="minMax"/>
          <c:max val="110"/>
          <c:min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dirty="0"/>
                  <a:t>Sound Pressure Level [dB(A)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08816"/>
        <c:crosses val="autoZero"/>
        <c:crossBetween val="midCat"/>
      </c:valAx>
      <c:spPr>
        <a:solidFill>
          <a:srgbClr val="FFFFFF"/>
        </a:solidFill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6404874213836474E-2"/>
          <c:y val="0.10240178571428571"/>
          <c:w val="0.89658144841269838"/>
          <c:h val="0.79557794796631254"/>
        </c:manualLayout>
      </c:layout>
      <c:scatterChart>
        <c:scatterStyle val="lineMarker"/>
        <c:varyColors val="0"/>
        <c:ser>
          <c:idx val="1"/>
          <c:order val="2"/>
          <c:tx>
            <c:v>CRUISE incl Margin</c:v>
          </c:tx>
          <c:spPr>
            <a:ln w="28575" cap="rnd">
              <a:solidFill>
                <a:srgbClr val="00B050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16"/>
            <c:marker>
              <c:symbol val="none"/>
            </c:marker>
            <c:bubble3D val="0"/>
            <c:spPr>
              <a:ln w="28575" cap="rnd">
                <a:noFill/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5E97-4535-84D4-234018DD016F}"/>
              </c:ext>
            </c:extLst>
          </c:dPt>
          <c:dPt>
            <c:idx val="17"/>
            <c:marker>
              <c:symbol val="none"/>
            </c:marker>
            <c:bubble3D val="0"/>
            <c:spPr>
              <a:ln w="28575" cap="rnd">
                <a:noFill/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6-5E97-4535-84D4-234018DD016F}"/>
              </c:ext>
            </c:extLst>
          </c:dPt>
          <c:dPt>
            <c:idx val="18"/>
            <c:marker>
              <c:symbol val="none"/>
            </c:marker>
            <c:bubble3D val="0"/>
            <c:spPr>
              <a:ln w="28575" cap="rnd">
                <a:noFill/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5E97-4535-84D4-234018DD016F}"/>
              </c:ext>
            </c:extLst>
          </c:dPt>
          <c:dPt>
            <c:idx val="19"/>
            <c:marker>
              <c:symbol val="none"/>
            </c:marker>
            <c:bubble3D val="0"/>
            <c:spPr>
              <a:ln w="28575" cap="rnd">
                <a:noFill/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8-5E97-4535-84D4-234018DD016F}"/>
              </c:ext>
            </c:extLst>
          </c:dPt>
          <c:xVal>
            <c:numRef>
              <c:f>'MIN SAFETY'!$B$33:$B$52</c:f>
              <c:numCache>
                <c:formatCode>General</c:formatCode>
                <c:ptCount val="20"/>
                <c:pt idx="0">
                  <c:v>6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  <c:pt idx="14">
                  <c:v>75</c:v>
                </c:pt>
                <c:pt idx="15">
                  <c:v>80</c:v>
                </c:pt>
                <c:pt idx="16">
                  <c:v>85</c:v>
                </c:pt>
                <c:pt idx="17">
                  <c:v>90</c:v>
                </c:pt>
                <c:pt idx="18">
                  <c:v>95</c:v>
                </c:pt>
                <c:pt idx="19">
                  <c:v>100</c:v>
                </c:pt>
              </c:numCache>
            </c:numRef>
          </c:xVal>
          <c:yVal>
            <c:numRef>
              <c:f>'MIN SAFETY'!$C$33:$C$52</c:f>
              <c:numCache>
                <c:formatCode>0.0</c:formatCode>
                <c:ptCount val="20"/>
                <c:pt idx="0">
                  <c:v>45.07715318164081</c:v>
                </c:pt>
                <c:pt idx="1">
                  <c:v>48.312824452710153</c:v>
                </c:pt>
                <c:pt idx="2">
                  <c:v>51.639636681975475</c:v>
                </c:pt>
                <c:pt idx="3">
                  <c:v>54.303469669506498</c:v>
                </c:pt>
                <c:pt idx="4">
                  <c:v>56.512609621468975</c:v>
                </c:pt>
                <c:pt idx="5">
                  <c:v>58.402250882171316</c:v>
                </c:pt>
                <c:pt idx="6">
                  <c:v>60.056932193540817</c:v>
                </c:pt>
                <c:pt idx="7">
                  <c:v>61.531714350332848</c:v>
                </c:pt>
                <c:pt idx="8">
                  <c:v>62.864169126186987</c:v>
                </c:pt>
                <c:pt idx="9">
                  <c:v>64.081015864890716</c:v>
                </c:pt>
                <c:pt idx="10">
                  <c:v>65.201930734866266</c:v>
                </c:pt>
                <c:pt idx="11">
                  <c:v>66.241832850886283</c:v>
                </c:pt>
                <c:pt idx="12">
                  <c:v>67.212315642826155</c:v>
                </c:pt>
                <c:pt idx="13">
                  <c:v>68.122577611321503</c:v>
                </c:pt>
                <c:pt idx="14">
                  <c:v>68.980047996840668</c:v>
                </c:pt>
                <c:pt idx="15">
                  <c:v>69.790819766503489</c:v>
                </c:pt>
                <c:pt idx="16">
                  <c:v>70.559956990352845</c:v>
                </c:pt>
                <c:pt idx="17">
                  <c:v>71.291717997536821</c:v>
                </c:pt>
                <c:pt idx="18">
                  <c:v>71.989720636628675</c:v>
                </c:pt>
                <c:pt idx="19">
                  <c:v>72.6570668406237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D7F-4CE3-AE4C-35C478356567}"/>
            </c:ext>
          </c:extLst>
        </c:ser>
        <c:ser>
          <c:idx val="2"/>
          <c:order val="3"/>
          <c:tx>
            <c:v>ACC 5.0 m/s² incl Margin</c:v>
          </c:tx>
          <c:spPr>
            <a:ln w="25400" cap="rnd">
              <a:solidFill>
                <a:srgbClr val="00B050"/>
              </a:solidFill>
              <a:prstDash val="sysDot"/>
              <a:round/>
            </a:ln>
            <a:effectLst/>
          </c:spPr>
          <c:marker>
            <c:symbol val="none"/>
          </c:marker>
          <c:dPt>
            <c:idx val="16"/>
            <c:marker>
              <c:symbol val="none"/>
            </c:marker>
            <c:bubble3D val="0"/>
            <c:spPr>
              <a:ln w="25400" cap="rnd">
                <a:noFill/>
                <a:prstDash val="sysDot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E97-4535-84D4-234018DD016F}"/>
              </c:ext>
            </c:extLst>
          </c:dPt>
          <c:dPt>
            <c:idx val="17"/>
            <c:marker>
              <c:symbol val="none"/>
            </c:marker>
            <c:bubble3D val="0"/>
            <c:spPr>
              <a:ln w="25400" cap="rnd">
                <a:noFill/>
                <a:prstDash val="sysDot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5E97-4535-84D4-234018DD016F}"/>
              </c:ext>
            </c:extLst>
          </c:dPt>
          <c:dPt>
            <c:idx val="18"/>
            <c:marker>
              <c:symbol val="none"/>
            </c:marker>
            <c:bubble3D val="0"/>
            <c:spPr>
              <a:ln w="25400" cap="rnd">
                <a:noFill/>
                <a:prstDash val="sysDot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5E97-4535-84D4-234018DD016F}"/>
              </c:ext>
            </c:extLst>
          </c:dPt>
          <c:dPt>
            <c:idx val="19"/>
            <c:marker>
              <c:symbol val="none"/>
            </c:marker>
            <c:bubble3D val="0"/>
            <c:spPr>
              <a:ln w="25400" cap="rnd">
                <a:noFill/>
                <a:prstDash val="sysDot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5E97-4535-84D4-234018DD016F}"/>
              </c:ext>
            </c:extLst>
          </c:dPt>
          <c:xVal>
            <c:numRef>
              <c:f>'MIN SAFETY'!$B$33:$B$52</c:f>
              <c:numCache>
                <c:formatCode>General</c:formatCode>
                <c:ptCount val="20"/>
                <c:pt idx="0">
                  <c:v>6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  <c:pt idx="14">
                  <c:v>75</c:v>
                </c:pt>
                <c:pt idx="15">
                  <c:v>80</c:v>
                </c:pt>
                <c:pt idx="16">
                  <c:v>85</c:v>
                </c:pt>
                <c:pt idx="17">
                  <c:v>90</c:v>
                </c:pt>
                <c:pt idx="18">
                  <c:v>95</c:v>
                </c:pt>
                <c:pt idx="19">
                  <c:v>100</c:v>
                </c:pt>
              </c:numCache>
            </c:numRef>
          </c:xVal>
          <c:yVal>
            <c:numRef>
              <c:f>'MIN SAFETY'!$M$33:$M$52</c:f>
              <c:numCache>
                <c:formatCode>0.0</c:formatCode>
                <c:ptCount val="20"/>
                <c:pt idx="0">
                  <c:v>59.419243045860078</c:v>
                </c:pt>
                <c:pt idx="1">
                  <c:v>60.666026131391135</c:v>
                </c:pt>
                <c:pt idx="2">
                  <c:v>62.080086462829186</c:v>
                </c:pt>
                <c:pt idx="3">
                  <c:v>63.363550882214952</c:v>
                </c:pt>
                <c:pt idx="4">
                  <c:v>64.53996996273419</c:v>
                </c:pt>
                <c:pt idx="5">
                  <c:v>65.626901169764963</c:v>
                </c:pt>
                <c:pt idx="6">
                  <c:v>66.637795358209615</c:v>
                </c:pt>
                <c:pt idx="7">
                  <c:v>67.583196627979873</c:v>
                </c:pt>
                <c:pt idx="8">
                  <c:v>68.471533393842606</c:v>
                </c:pt>
                <c:pt idx="9">
                  <c:v>69.309656623959199</c:v>
                </c:pt>
                <c:pt idx="10">
                  <c:v>70.103216287046052</c:v>
                </c:pt>
                <c:pt idx="11">
                  <c:v>70.85693109127601</c:v>
                </c:pt>
                <c:pt idx="12">
                  <c:v>71.574785933347613</c:v>
                </c:pt>
                <c:pt idx="13">
                  <c:v>72.260179193427831</c:v>
                </c:pt>
                <c:pt idx="14">
                  <c:v>72.916034485179637</c:v>
                </c:pt>
                <c:pt idx="15">
                  <c:v>73.544886729380977</c:v>
                </c:pt>
                <c:pt idx="16">
                  <c:v>74.148949358401765</c:v>
                </c:pt>
                <c:pt idx="17">
                  <c:v>74.730167436997988</c:v>
                </c:pt>
                <c:pt idx="18">
                  <c:v>75.290260121947313</c:v>
                </c:pt>
                <c:pt idx="19">
                  <c:v>75.8307549469662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D7F-4CE3-AE4C-35C4783565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6408816"/>
        <c:axId val="43641214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v>CRUISE</c:v>
                </c:tx>
                <c:spPr>
                  <a:ln w="25400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MIN SAFETY'!$C$7:$C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39.07715318164081</c:v>
                      </c:pt>
                      <c:pt idx="1">
                        <c:v>42.312824452710153</c:v>
                      </c:pt>
                      <c:pt idx="2">
                        <c:v>45.639636681975475</c:v>
                      </c:pt>
                      <c:pt idx="3">
                        <c:v>48.303469669506498</c:v>
                      </c:pt>
                      <c:pt idx="4">
                        <c:v>50.512609621468975</c:v>
                      </c:pt>
                      <c:pt idx="5">
                        <c:v>52.402250882171316</c:v>
                      </c:pt>
                      <c:pt idx="6">
                        <c:v>54.056932193540817</c:v>
                      </c:pt>
                      <c:pt idx="7">
                        <c:v>55.531714350332848</c:v>
                      </c:pt>
                      <c:pt idx="8">
                        <c:v>56.864169126186987</c:v>
                      </c:pt>
                      <c:pt idx="9">
                        <c:v>58.081015864890716</c:v>
                      </c:pt>
                      <c:pt idx="10">
                        <c:v>59.201930734866266</c:v>
                      </c:pt>
                      <c:pt idx="11">
                        <c:v>60.24183285088629</c:v>
                      </c:pt>
                      <c:pt idx="12">
                        <c:v>61.212315642826155</c:v>
                      </c:pt>
                      <c:pt idx="13">
                        <c:v>62.122577611321503</c:v>
                      </c:pt>
                      <c:pt idx="14">
                        <c:v>62.980047996840668</c:v>
                      </c:pt>
                      <c:pt idx="15">
                        <c:v>63.790819766503489</c:v>
                      </c:pt>
                      <c:pt idx="16">
                        <c:v>64.559956990352845</c:v>
                      </c:pt>
                      <c:pt idx="17">
                        <c:v>65.291717997536821</c:v>
                      </c:pt>
                      <c:pt idx="18">
                        <c:v>65.989720636628675</c:v>
                      </c:pt>
                      <c:pt idx="19">
                        <c:v>66.65706684062375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0D7F-4CE3-AE4C-35C478356567}"/>
                  </c:ext>
                </c:extLst>
              </c15:ser>
            </c15:filteredScatterSeries>
            <c15:filteredScatterSeries>
              <c15:ser>
                <c:idx val="9"/>
                <c:order val="1"/>
                <c:tx>
                  <c:v>ACC 5.0 m/s²</c:v>
                </c:tx>
                <c:spPr>
                  <a:ln w="2540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7:$M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3.419243045860078</c:v>
                      </c:pt>
                      <c:pt idx="1">
                        <c:v>54.666026131391135</c:v>
                      </c:pt>
                      <c:pt idx="2">
                        <c:v>56.080086462829186</c:v>
                      </c:pt>
                      <c:pt idx="3">
                        <c:v>57.363550882214952</c:v>
                      </c:pt>
                      <c:pt idx="4">
                        <c:v>58.53996996273419</c:v>
                      </c:pt>
                      <c:pt idx="5">
                        <c:v>59.626901169764963</c:v>
                      </c:pt>
                      <c:pt idx="6">
                        <c:v>60.637795358209623</c:v>
                      </c:pt>
                      <c:pt idx="7">
                        <c:v>61.583196627979873</c:v>
                      </c:pt>
                      <c:pt idx="8">
                        <c:v>62.471533393842613</c:v>
                      </c:pt>
                      <c:pt idx="9">
                        <c:v>63.309656623959199</c:v>
                      </c:pt>
                      <c:pt idx="10">
                        <c:v>64.103216287046052</c:v>
                      </c:pt>
                      <c:pt idx="11">
                        <c:v>64.85693109127601</c:v>
                      </c:pt>
                      <c:pt idx="12">
                        <c:v>65.574785933347613</c:v>
                      </c:pt>
                      <c:pt idx="13">
                        <c:v>66.260179193427831</c:v>
                      </c:pt>
                      <c:pt idx="14">
                        <c:v>66.916034485179637</c:v>
                      </c:pt>
                      <c:pt idx="15">
                        <c:v>67.544886729380977</c:v>
                      </c:pt>
                      <c:pt idx="16">
                        <c:v>68.148949358401765</c:v>
                      </c:pt>
                      <c:pt idx="17">
                        <c:v>68.730167436997988</c:v>
                      </c:pt>
                      <c:pt idx="18">
                        <c:v>69.290260121947313</c:v>
                      </c:pt>
                      <c:pt idx="19">
                        <c:v>69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0D7F-4CE3-AE4C-35C478356567}"/>
                  </c:ext>
                </c:extLst>
              </c15:ser>
            </c15:filteredScatterSeries>
            <c15:filteredScatterSeries>
              <c15:ser>
                <c:idx val="3"/>
                <c:order val="4"/>
                <c:tx>
                  <c:v>ASEP BORDER</c:v>
                </c:tx>
                <c:spPr>
                  <a:ln w="3175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10:$Z$16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50</c:v>
                      </c:pt>
                      <c:pt idx="1">
                        <c:v>54.33</c:v>
                      </c:pt>
                      <c:pt idx="2">
                        <c:v>60</c:v>
                      </c:pt>
                      <c:pt idx="3">
                        <c:v>65</c:v>
                      </c:pt>
                      <c:pt idx="4">
                        <c:v>70</c:v>
                      </c:pt>
                      <c:pt idx="5">
                        <c:v>75</c:v>
                      </c:pt>
                      <c:pt idx="6">
                        <c:v>8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10:$AC$16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72.475000000000009</c:v>
                      </c:pt>
                      <c:pt idx="1">
                        <c:v>73.2</c:v>
                      </c:pt>
                      <c:pt idx="2">
                        <c:v>74.522999999999996</c:v>
                      </c:pt>
                      <c:pt idx="3">
                        <c:v>75.685000000000002</c:v>
                      </c:pt>
                      <c:pt idx="4">
                        <c:v>76.853999999999999</c:v>
                      </c:pt>
                      <c:pt idx="5">
                        <c:v>78.022999999999996</c:v>
                      </c:pt>
                      <c:pt idx="6">
                        <c:v>79.185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0D7F-4CE3-AE4C-35C478356567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v>ASEP BORDER &lt; 50 km/h</c:v>
                </c:tx>
                <c:spPr>
                  <a:ln w="28575" cap="rnd">
                    <a:solidFill>
                      <a:schemeClr val="tx1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4:$Z$10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</c:v>
                      </c:pt>
                      <c:pt idx="1">
                        <c:v>25</c:v>
                      </c:pt>
                      <c:pt idx="2">
                        <c:v>30</c:v>
                      </c:pt>
                      <c:pt idx="3">
                        <c:v>35</c:v>
                      </c:pt>
                      <c:pt idx="4">
                        <c:v>40</c:v>
                      </c:pt>
                      <c:pt idx="5">
                        <c:v>45</c:v>
                      </c:pt>
                      <c:pt idx="6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4:$AC$10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67.475000000000009</c:v>
                      </c:pt>
                      <c:pt idx="1">
                        <c:v>68.31</c:v>
                      </c:pt>
                      <c:pt idx="2">
                        <c:v>69.14500000000001</c:v>
                      </c:pt>
                      <c:pt idx="3">
                        <c:v>69.975000000000009</c:v>
                      </c:pt>
                      <c:pt idx="4">
                        <c:v>70.81</c:v>
                      </c:pt>
                      <c:pt idx="5">
                        <c:v>71.644999999999996</c:v>
                      </c:pt>
                      <c:pt idx="6">
                        <c:v>72.4750000000000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0D7F-4CE3-AE4C-35C478356567}"/>
                  </c:ext>
                </c:extLst>
              </c15:ser>
            </c15:filteredScatterSeries>
          </c:ext>
        </c:extLst>
      </c:scatterChart>
      <c:valAx>
        <c:axId val="436408816"/>
        <c:scaling>
          <c:orientation val="minMax"/>
          <c:max val="100"/>
        </c:scaling>
        <c:delete val="0"/>
        <c:axPos val="b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12144"/>
        <c:crosses val="autoZero"/>
        <c:crossBetween val="midCat"/>
      </c:valAx>
      <c:valAx>
        <c:axId val="436412144"/>
        <c:scaling>
          <c:orientation val="minMax"/>
          <c:max val="110"/>
          <c:min val="4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0881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 err="1"/>
              <a:t>Matching</a:t>
            </a:r>
            <a:r>
              <a:rPr lang="de-DE" dirty="0"/>
              <a:t> UN R138 </a:t>
            </a:r>
            <a:r>
              <a:rPr lang="de-DE" dirty="0" err="1"/>
              <a:t>with</a:t>
            </a:r>
            <a:r>
              <a:rPr lang="de-DE" dirty="0"/>
              <a:t> UN R51.03 ASEP</a:t>
            </a:r>
          </a:p>
        </c:rich>
      </c:tx>
      <c:layout>
        <c:manualLayout>
          <c:xMode val="edge"/>
          <c:yMode val="edge"/>
          <c:x val="0.32702869496855347"/>
          <c:y val="3.05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8068948412698416E-2"/>
          <c:y val="0.10240172078092773"/>
          <c:w val="0.89658144841269838"/>
          <c:h val="0.79557794796631254"/>
        </c:manualLayout>
      </c:layout>
      <c:scatterChart>
        <c:scatterStyle val="lineMarker"/>
        <c:varyColors val="0"/>
        <c:ser>
          <c:idx val="4"/>
          <c:order val="6"/>
          <c:tx>
            <c:v>UN R138 MAX SPL</c:v>
          </c:tx>
          <c:spPr>
            <a:ln w="3810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trendline>
            <c:name>UN R138 NEW MAX SPL</c:name>
            <c:spPr>
              <a:ln w="38100" cap="rnd">
                <a:solidFill>
                  <a:srgbClr val="00B0F0"/>
                </a:solidFill>
                <a:prstDash val="sysDash"/>
              </a:ln>
              <a:effectLst/>
            </c:spPr>
            <c:trendlineType val="linear"/>
            <c:forward val="30"/>
            <c:dispRSqr val="0"/>
            <c:dispEq val="0"/>
          </c:trendline>
          <c:xVal>
            <c:numRef>
              <c:f>'MIN SAFETY'!$O$30:$O$32</c:f>
              <c:numCache>
                <c:formatCode>General</c:formatCode>
                <c:ptCount val="3"/>
                <c:pt idx="0" formatCode="0.0">
                  <c:v>0</c:v>
                </c:pt>
                <c:pt idx="1">
                  <c:v>10</c:v>
                </c:pt>
                <c:pt idx="2">
                  <c:v>20</c:v>
                </c:pt>
              </c:numCache>
            </c:numRef>
          </c:xVal>
          <c:yVal>
            <c:numRef>
              <c:f>'MIN SAFETY'!$P$30:$P$32</c:f>
              <c:numCache>
                <c:formatCode>General</c:formatCode>
                <c:ptCount val="3"/>
                <c:pt idx="0" formatCode="0.0">
                  <c:v>66</c:v>
                </c:pt>
                <c:pt idx="1">
                  <c:v>66</c:v>
                </c:pt>
                <c:pt idx="2">
                  <c:v>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C36-491D-9064-745570F9D1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6408816"/>
        <c:axId val="43641214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v>CRUISE</c:v>
                </c:tx>
                <c:spPr>
                  <a:ln w="25400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MIN SAFETY'!$C$7:$C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39.07715318164081</c:v>
                      </c:pt>
                      <c:pt idx="1">
                        <c:v>42.312824452710153</c:v>
                      </c:pt>
                      <c:pt idx="2">
                        <c:v>45.639636681975475</c:v>
                      </c:pt>
                      <c:pt idx="3">
                        <c:v>48.303469669506498</c:v>
                      </c:pt>
                      <c:pt idx="4">
                        <c:v>50.512609621468975</c:v>
                      </c:pt>
                      <c:pt idx="5">
                        <c:v>52.402250882171316</c:v>
                      </c:pt>
                      <c:pt idx="6">
                        <c:v>54.056932193540817</c:v>
                      </c:pt>
                      <c:pt idx="7">
                        <c:v>55.531714350332848</c:v>
                      </c:pt>
                      <c:pt idx="8">
                        <c:v>56.864169126186987</c:v>
                      </c:pt>
                      <c:pt idx="9">
                        <c:v>58.081015864890716</c:v>
                      </c:pt>
                      <c:pt idx="10">
                        <c:v>59.201930734866266</c:v>
                      </c:pt>
                      <c:pt idx="11">
                        <c:v>60.24183285088629</c:v>
                      </c:pt>
                      <c:pt idx="12">
                        <c:v>61.212315642826155</c:v>
                      </c:pt>
                      <c:pt idx="13">
                        <c:v>62.122577611321503</c:v>
                      </c:pt>
                      <c:pt idx="14">
                        <c:v>62.980047996840668</c:v>
                      </c:pt>
                      <c:pt idx="15">
                        <c:v>63.790819766503489</c:v>
                      </c:pt>
                      <c:pt idx="16">
                        <c:v>64.559956990352845</c:v>
                      </c:pt>
                      <c:pt idx="17">
                        <c:v>65.291717997536821</c:v>
                      </c:pt>
                      <c:pt idx="18">
                        <c:v>65.989720636628675</c:v>
                      </c:pt>
                      <c:pt idx="19">
                        <c:v>66.65706684062375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1-7C36-491D-9064-745570F9D103}"/>
                  </c:ext>
                </c:extLst>
              </c15:ser>
            </c15:filteredScatterSeries>
            <c15:filteredScatterSeries>
              <c15:ser>
                <c:idx val="9"/>
                <c:order val="1"/>
                <c:tx>
                  <c:v>ACC 5.0 m/s²</c:v>
                </c:tx>
                <c:spPr>
                  <a:ln w="2540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7:$M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3.419243045860078</c:v>
                      </c:pt>
                      <c:pt idx="1">
                        <c:v>54.666026131391135</c:v>
                      </c:pt>
                      <c:pt idx="2">
                        <c:v>56.080086462829186</c:v>
                      </c:pt>
                      <c:pt idx="3">
                        <c:v>57.363550882214952</c:v>
                      </c:pt>
                      <c:pt idx="4">
                        <c:v>58.53996996273419</c:v>
                      </c:pt>
                      <c:pt idx="5">
                        <c:v>59.626901169764963</c:v>
                      </c:pt>
                      <c:pt idx="6">
                        <c:v>60.637795358209623</c:v>
                      </c:pt>
                      <c:pt idx="7">
                        <c:v>61.583196627979873</c:v>
                      </c:pt>
                      <c:pt idx="8">
                        <c:v>62.471533393842613</c:v>
                      </c:pt>
                      <c:pt idx="9">
                        <c:v>63.309656623959199</c:v>
                      </c:pt>
                      <c:pt idx="10">
                        <c:v>64.103216287046052</c:v>
                      </c:pt>
                      <c:pt idx="11">
                        <c:v>64.85693109127601</c:v>
                      </c:pt>
                      <c:pt idx="12">
                        <c:v>65.574785933347613</c:v>
                      </c:pt>
                      <c:pt idx="13">
                        <c:v>66.260179193427831</c:v>
                      </c:pt>
                      <c:pt idx="14">
                        <c:v>66.916034485179637</c:v>
                      </c:pt>
                      <c:pt idx="15">
                        <c:v>67.544886729380977</c:v>
                      </c:pt>
                      <c:pt idx="16">
                        <c:v>68.148949358401765</c:v>
                      </c:pt>
                      <c:pt idx="17">
                        <c:v>68.730167436997988</c:v>
                      </c:pt>
                      <c:pt idx="18">
                        <c:v>69.290260121947313</c:v>
                      </c:pt>
                      <c:pt idx="19">
                        <c:v>69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7C36-491D-9064-745570F9D103}"/>
                  </c:ext>
                </c:extLst>
              </c15:ser>
            </c15:filteredScatterSeries>
            <c15:filteredScatterSeries>
              <c15:ser>
                <c:idx val="1"/>
                <c:order val="2"/>
                <c:tx>
                  <c:v>CRUISE incl Margin</c:v>
                </c:tx>
                <c:spPr>
                  <a:ln w="25400" cap="rnd">
                    <a:solidFill>
                      <a:srgbClr val="00B050"/>
                    </a:solidFill>
                    <a:prstDash val="solid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C$33:$C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45.07715318164081</c:v>
                      </c:pt>
                      <c:pt idx="1">
                        <c:v>48.312824452710153</c:v>
                      </c:pt>
                      <c:pt idx="2">
                        <c:v>51.639636681975475</c:v>
                      </c:pt>
                      <c:pt idx="3">
                        <c:v>54.303469669506498</c:v>
                      </c:pt>
                      <c:pt idx="4">
                        <c:v>56.512609621468975</c:v>
                      </c:pt>
                      <c:pt idx="5">
                        <c:v>58.402250882171316</c:v>
                      </c:pt>
                      <c:pt idx="6">
                        <c:v>60.056932193540817</c:v>
                      </c:pt>
                      <c:pt idx="7">
                        <c:v>61.531714350332848</c:v>
                      </c:pt>
                      <c:pt idx="8">
                        <c:v>62.864169126186987</c:v>
                      </c:pt>
                      <c:pt idx="9">
                        <c:v>64.081015864890716</c:v>
                      </c:pt>
                      <c:pt idx="10">
                        <c:v>65.201930734866266</c:v>
                      </c:pt>
                      <c:pt idx="11">
                        <c:v>66.241832850886283</c:v>
                      </c:pt>
                      <c:pt idx="12">
                        <c:v>67.212315642826155</c:v>
                      </c:pt>
                      <c:pt idx="13">
                        <c:v>68.122577611321503</c:v>
                      </c:pt>
                      <c:pt idx="14">
                        <c:v>68.980047996840668</c:v>
                      </c:pt>
                      <c:pt idx="15">
                        <c:v>69.790819766503489</c:v>
                      </c:pt>
                      <c:pt idx="16">
                        <c:v>70.559956990352845</c:v>
                      </c:pt>
                      <c:pt idx="17">
                        <c:v>71.291717997536821</c:v>
                      </c:pt>
                      <c:pt idx="18">
                        <c:v>71.989720636628675</c:v>
                      </c:pt>
                      <c:pt idx="19">
                        <c:v>72.65706684062375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7C36-491D-9064-745570F9D103}"/>
                  </c:ext>
                </c:extLst>
              </c15:ser>
            </c15:filteredScatterSeries>
            <c15:filteredScatterSeries>
              <c15:ser>
                <c:idx val="2"/>
                <c:order val="3"/>
                <c:tx>
                  <c:v>ACC 5.0 m/s² incl Margin</c:v>
                </c:tx>
                <c:spPr>
                  <a:ln w="25400" cap="rnd">
                    <a:solidFill>
                      <a:srgbClr val="00B05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33:$M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9.419243045860078</c:v>
                      </c:pt>
                      <c:pt idx="1">
                        <c:v>60.666026131391135</c:v>
                      </c:pt>
                      <c:pt idx="2">
                        <c:v>62.080086462829186</c:v>
                      </c:pt>
                      <c:pt idx="3">
                        <c:v>63.363550882214952</c:v>
                      </c:pt>
                      <c:pt idx="4">
                        <c:v>64.53996996273419</c:v>
                      </c:pt>
                      <c:pt idx="5">
                        <c:v>65.626901169764963</c:v>
                      </c:pt>
                      <c:pt idx="6">
                        <c:v>66.637795358209615</c:v>
                      </c:pt>
                      <c:pt idx="7">
                        <c:v>67.583196627979873</c:v>
                      </c:pt>
                      <c:pt idx="8">
                        <c:v>68.471533393842606</c:v>
                      </c:pt>
                      <c:pt idx="9">
                        <c:v>69.309656623959199</c:v>
                      </c:pt>
                      <c:pt idx="10">
                        <c:v>70.103216287046052</c:v>
                      </c:pt>
                      <c:pt idx="11">
                        <c:v>70.85693109127601</c:v>
                      </c:pt>
                      <c:pt idx="12">
                        <c:v>71.574785933347613</c:v>
                      </c:pt>
                      <c:pt idx="13">
                        <c:v>72.260179193427831</c:v>
                      </c:pt>
                      <c:pt idx="14">
                        <c:v>72.916034485179637</c:v>
                      </c:pt>
                      <c:pt idx="15">
                        <c:v>73.544886729380977</c:v>
                      </c:pt>
                      <c:pt idx="16">
                        <c:v>74.148949358401765</c:v>
                      </c:pt>
                      <c:pt idx="17">
                        <c:v>74.730167436997988</c:v>
                      </c:pt>
                      <c:pt idx="18">
                        <c:v>75.290260121947313</c:v>
                      </c:pt>
                      <c:pt idx="19">
                        <c:v>75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7C36-491D-9064-745570F9D103}"/>
                  </c:ext>
                </c:extLst>
              </c15:ser>
            </c15:filteredScatterSeries>
            <c15:filteredScatterSeries>
              <c15:ser>
                <c:idx val="3"/>
                <c:order val="4"/>
                <c:tx>
                  <c:v>ASEP BORDER</c:v>
                </c:tx>
                <c:spPr>
                  <a:ln w="3175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10:$Z$16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50</c:v>
                      </c:pt>
                      <c:pt idx="1">
                        <c:v>54.33</c:v>
                      </c:pt>
                      <c:pt idx="2">
                        <c:v>60</c:v>
                      </c:pt>
                      <c:pt idx="3">
                        <c:v>65</c:v>
                      </c:pt>
                      <c:pt idx="4">
                        <c:v>70</c:v>
                      </c:pt>
                      <c:pt idx="5">
                        <c:v>75</c:v>
                      </c:pt>
                      <c:pt idx="6">
                        <c:v>8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10:$AC$16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72.475000000000009</c:v>
                      </c:pt>
                      <c:pt idx="1">
                        <c:v>73.2</c:v>
                      </c:pt>
                      <c:pt idx="2">
                        <c:v>74.522999999999996</c:v>
                      </c:pt>
                      <c:pt idx="3">
                        <c:v>75.685000000000002</c:v>
                      </c:pt>
                      <c:pt idx="4">
                        <c:v>76.853999999999999</c:v>
                      </c:pt>
                      <c:pt idx="5">
                        <c:v>78.022999999999996</c:v>
                      </c:pt>
                      <c:pt idx="6">
                        <c:v>79.185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7C36-491D-9064-745570F9D103}"/>
                  </c:ext>
                </c:extLst>
              </c15:ser>
            </c15:filteredScatterSeries>
            <c15:filteredScatterSeries>
              <c15:ser>
                <c:idx val="6"/>
                <c:order val="5"/>
                <c:tx>
                  <c:v>Draft UN R138.02 Max Sound</c:v>
                </c:tx>
                <c:spPr>
                  <a:ln w="31750" cap="rnd">
                    <a:solidFill>
                      <a:srgbClr val="00B0F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F$13:$AF$2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</c:v>
                      </c:pt>
                      <c:pt idx="1">
                        <c:v>10</c:v>
                      </c:pt>
                      <c:pt idx="2">
                        <c:v>20</c:v>
                      </c:pt>
                      <c:pt idx="3">
                        <c:v>30</c:v>
                      </c:pt>
                      <c:pt idx="4">
                        <c:v>32</c:v>
                      </c:pt>
                      <c:pt idx="5">
                        <c:v>40</c:v>
                      </c:pt>
                      <c:pt idx="6">
                        <c:v>50</c:v>
                      </c:pt>
                      <c:pt idx="7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G$13:$AG$2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66</c:v>
                      </c:pt>
                      <c:pt idx="1">
                        <c:v>66</c:v>
                      </c:pt>
                      <c:pt idx="2">
                        <c:v>66</c:v>
                      </c:pt>
                      <c:pt idx="3">
                        <c:v>66</c:v>
                      </c:pt>
                      <c:pt idx="4">
                        <c:v>66</c:v>
                      </c:pt>
                      <c:pt idx="5">
                        <c:v>57.56</c:v>
                      </c:pt>
                      <c:pt idx="6">
                        <c:v>47</c:v>
                      </c:pt>
                      <c:pt idx="7">
                        <c:v>0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7C36-491D-9064-745570F9D103}"/>
                  </c:ext>
                </c:extLst>
              </c15:ser>
            </c15:filteredScatterSeries>
            <c15:filteredScatterSeries>
              <c15:ser>
                <c:idx val="5"/>
                <c:order val="7"/>
                <c:tx>
                  <c:v>Test Data</c:v>
                </c:tx>
                <c:spPr>
                  <a:ln w="19050" cap="rnd">
                    <a:noFill/>
                    <a:round/>
                  </a:ln>
                  <a:effectLst/>
                </c:spPr>
                <c:marker>
                  <c:symbol val="circle"/>
                  <c:size val="10"/>
                  <c:spPr>
                    <a:solidFill>
                      <a:schemeClr val="tx2">
                        <a:lumMod val="20000"/>
                        <a:lumOff val="80000"/>
                      </a:schemeClr>
                    </a:solidFill>
                    <a:ln w="9525">
                      <a:solidFill>
                        <a:schemeClr val="tx2">
                          <a:lumMod val="75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W$5:$W$64</c15:sqref>
                        </c15:formulaRef>
                      </c:ext>
                    </c:extLst>
                    <c:numCache>
                      <c:formatCode>0.0</c:formatCode>
                      <c:ptCount val="60"/>
                      <c:pt idx="0">
                        <c:v>33.5</c:v>
                      </c:pt>
                      <c:pt idx="1">
                        <c:v>37.200000000000003</c:v>
                      </c:pt>
                      <c:pt idx="2">
                        <c:v>42.4</c:v>
                      </c:pt>
                      <c:pt idx="3">
                        <c:v>48.6</c:v>
                      </c:pt>
                      <c:pt idx="4">
                        <c:v>57.1</c:v>
                      </c:pt>
                      <c:pt idx="5">
                        <c:v>65.099999999999994</c:v>
                      </c:pt>
                      <c:pt idx="6">
                        <c:v>74</c:v>
                      </c:pt>
                      <c:pt idx="7">
                        <c:v>83.7</c:v>
                      </c:pt>
                      <c:pt idx="8">
                        <c:v>92</c:v>
                      </c:pt>
                      <c:pt idx="9">
                        <c:v>100</c:v>
                      </c:pt>
                      <c:pt idx="10">
                        <c:v>33.799999999999997</c:v>
                      </c:pt>
                      <c:pt idx="11">
                        <c:v>37.200000000000003</c:v>
                      </c:pt>
                      <c:pt idx="12">
                        <c:v>41.8</c:v>
                      </c:pt>
                      <c:pt idx="13">
                        <c:v>49.3</c:v>
                      </c:pt>
                      <c:pt idx="14">
                        <c:v>55.9</c:v>
                      </c:pt>
                      <c:pt idx="15">
                        <c:v>64.5</c:v>
                      </c:pt>
                      <c:pt idx="16">
                        <c:v>73.900000000000006</c:v>
                      </c:pt>
                      <c:pt idx="17">
                        <c:v>82.9</c:v>
                      </c:pt>
                      <c:pt idx="18">
                        <c:v>91.5</c:v>
                      </c:pt>
                      <c:pt idx="19">
                        <c:v>99.4</c:v>
                      </c:pt>
                      <c:pt idx="20">
                        <c:v>53.1</c:v>
                      </c:pt>
                      <c:pt idx="21">
                        <c:v>55.7</c:v>
                      </c:pt>
                      <c:pt idx="22">
                        <c:v>58.5</c:v>
                      </c:pt>
                      <c:pt idx="23">
                        <c:v>63.5</c:v>
                      </c:pt>
                      <c:pt idx="24">
                        <c:v>70.7</c:v>
                      </c:pt>
                      <c:pt idx="25">
                        <c:v>78.8</c:v>
                      </c:pt>
                      <c:pt idx="26">
                        <c:v>85</c:v>
                      </c:pt>
                      <c:pt idx="27">
                        <c:v>91</c:v>
                      </c:pt>
                      <c:pt idx="28">
                        <c:v>92.9</c:v>
                      </c:pt>
                      <c:pt idx="29">
                        <c:v>100.2</c:v>
                      </c:pt>
                      <c:pt idx="30">
                        <c:v>91.2</c:v>
                      </c:pt>
                      <c:pt idx="31">
                        <c:v>84.1</c:v>
                      </c:pt>
                      <c:pt idx="32">
                        <c:v>99.9</c:v>
                      </c:pt>
                      <c:pt idx="33">
                        <c:v>54</c:v>
                      </c:pt>
                      <c:pt idx="34">
                        <c:v>54.4</c:v>
                      </c:pt>
                      <c:pt idx="35">
                        <c:v>54.6</c:v>
                      </c:pt>
                      <c:pt idx="36">
                        <c:v>54.3</c:v>
                      </c:pt>
                      <c:pt idx="37">
                        <c:v>50.1</c:v>
                      </c:pt>
                      <c:pt idx="38">
                        <c:v>49.8</c:v>
                      </c:pt>
                      <c:pt idx="39">
                        <c:v>49.9</c:v>
                      </c:pt>
                      <c:pt idx="40">
                        <c:v>49.7</c:v>
                      </c:pt>
                      <c:pt idx="41">
                        <c:v>10.6</c:v>
                      </c:pt>
                      <c:pt idx="42">
                        <c:v>20.2</c:v>
                      </c:pt>
                      <c:pt idx="43">
                        <c:v>31.2</c:v>
                      </c:pt>
                      <c:pt idx="44">
                        <c:v>30.6</c:v>
                      </c:pt>
                      <c:pt idx="45">
                        <c:v>40.299999999999997</c:v>
                      </c:pt>
                      <c:pt idx="46">
                        <c:v>50.1</c:v>
                      </c:pt>
                      <c:pt idx="47">
                        <c:v>60.4</c:v>
                      </c:pt>
                      <c:pt idx="48">
                        <c:v>70.599999999999994</c:v>
                      </c:pt>
                      <c:pt idx="49">
                        <c:v>79.599999999999994</c:v>
                      </c:pt>
                      <c:pt idx="50">
                        <c:v>90.1</c:v>
                      </c:pt>
                      <c:pt idx="51">
                        <c:v>98.8</c:v>
                      </c:pt>
                      <c:pt idx="52">
                        <c:v>38.4</c:v>
                      </c:pt>
                      <c:pt idx="53">
                        <c:v>66.3</c:v>
                      </c:pt>
                      <c:pt idx="54">
                        <c:v>78</c:v>
                      </c:pt>
                      <c:pt idx="55">
                        <c:v>54.2</c:v>
                      </c:pt>
                      <c:pt idx="56">
                        <c:v>89</c:v>
                      </c:pt>
                      <c:pt idx="57">
                        <c:v>87.3</c:v>
                      </c:pt>
                      <c:pt idx="58">
                        <c:v>88</c:v>
                      </c:pt>
                      <c:pt idx="59">
                        <c:v>87.8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X$5:$X$64</c15:sqref>
                        </c15:formulaRef>
                      </c:ext>
                    </c:extLst>
                    <c:numCache>
                      <c:formatCode>0.0</c:formatCode>
                      <c:ptCount val="60"/>
                      <c:pt idx="0">
                        <c:v>62</c:v>
                      </c:pt>
                      <c:pt idx="1">
                        <c:v>63</c:v>
                      </c:pt>
                      <c:pt idx="2">
                        <c:v>64.2</c:v>
                      </c:pt>
                      <c:pt idx="3">
                        <c:v>65.900000000000006</c:v>
                      </c:pt>
                      <c:pt idx="4">
                        <c:v>68.7</c:v>
                      </c:pt>
                      <c:pt idx="5">
                        <c:v>70.2</c:v>
                      </c:pt>
                      <c:pt idx="6">
                        <c:v>72.5</c:v>
                      </c:pt>
                      <c:pt idx="7">
                        <c:v>74.2</c:v>
                      </c:pt>
                      <c:pt idx="8">
                        <c:v>76.099999999999994</c:v>
                      </c:pt>
                      <c:pt idx="9">
                        <c:v>77.900000000000006</c:v>
                      </c:pt>
                      <c:pt idx="10">
                        <c:v>61.7</c:v>
                      </c:pt>
                      <c:pt idx="11">
                        <c:v>63.1</c:v>
                      </c:pt>
                      <c:pt idx="12">
                        <c:v>63</c:v>
                      </c:pt>
                      <c:pt idx="13">
                        <c:v>65.5</c:v>
                      </c:pt>
                      <c:pt idx="14">
                        <c:v>67.2</c:v>
                      </c:pt>
                      <c:pt idx="15">
                        <c:v>69.599999999999994</c:v>
                      </c:pt>
                      <c:pt idx="16">
                        <c:v>71.5</c:v>
                      </c:pt>
                      <c:pt idx="17">
                        <c:v>74.2</c:v>
                      </c:pt>
                      <c:pt idx="18">
                        <c:v>75.7</c:v>
                      </c:pt>
                      <c:pt idx="19">
                        <c:v>77.5</c:v>
                      </c:pt>
                      <c:pt idx="20">
                        <c:v>70.099999999999994</c:v>
                      </c:pt>
                      <c:pt idx="21">
                        <c:v>70.599999999999994</c:v>
                      </c:pt>
                      <c:pt idx="22">
                        <c:v>70.7</c:v>
                      </c:pt>
                      <c:pt idx="23">
                        <c:v>72.2</c:v>
                      </c:pt>
                      <c:pt idx="24">
                        <c:v>73.3</c:v>
                      </c:pt>
                      <c:pt idx="25">
                        <c:v>75.599999999999994</c:v>
                      </c:pt>
                      <c:pt idx="26">
                        <c:v>76.3</c:v>
                      </c:pt>
                      <c:pt idx="27">
                        <c:v>77.7</c:v>
                      </c:pt>
                      <c:pt idx="28">
                        <c:v>77.2</c:v>
                      </c:pt>
                      <c:pt idx="29">
                        <c:v>79.2</c:v>
                      </c:pt>
                      <c:pt idx="30">
                        <c:v>76.900000000000006</c:v>
                      </c:pt>
                      <c:pt idx="31">
                        <c:v>76.599999999999994</c:v>
                      </c:pt>
                      <c:pt idx="32">
                        <c:v>78.400000000000006</c:v>
                      </c:pt>
                      <c:pt idx="33">
                        <c:v>67.8</c:v>
                      </c:pt>
                      <c:pt idx="34">
                        <c:v>68</c:v>
                      </c:pt>
                      <c:pt idx="35">
                        <c:v>67.8</c:v>
                      </c:pt>
                      <c:pt idx="36">
                        <c:v>67.8</c:v>
                      </c:pt>
                      <c:pt idx="37">
                        <c:v>66.599999999999994</c:v>
                      </c:pt>
                      <c:pt idx="38">
                        <c:v>67.099999999999994</c:v>
                      </c:pt>
                      <c:pt idx="39">
                        <c:v>66.8</c:v>
                      </c:pt>
                      <c:pt idx="40">
                        <c:v>66.8</c:v>
                      </c:pt>
                      <c:pt idx="41">
                        <c:v>55.8</c:v>
                      </c:pt>
                      <c:pt idx="42">
                        <c:v>58.3</c:v>
                      </c:pt>
                      <c:pt idx="43">
                        <c:v>62</c:v>
                      </c:pt>
                      <c:pt idx="44">
                        <c:v>62</c:v>
                      </c:pt>
                      <c:pt idx="45">
                        <c:v>63.9</c:v>
                      </c:pt>
                      <c:pt idx="46">
                        <c:v>66.900000000000006</c:v>
                      </c:pt>
                      <c:pt idx="47">
                        <c:v>69.099999999999994</c:v>
                      </c:pt>
                      <c:pt idx="48">
                        <c:v>71.599999999999994</c:v>
                      </c:pt>
                      <c:pt idx="49">
                        <c:v>73.7</c:v>
                      </c:pt>
                      <c:pt idx="50">
                        <c:v>75.599999999999994</c:v>
                      </c:pt>
                      <c:pt idx="51">
                        <c:v>77.599999999999994</c:v>
                      </c:pt>
                      <c:pt idx="52">
                        <c:v>63.3</c:v>
                      </c:pt>
                      <c:pt idx="53">
                        <c:v>70.2</c:v>
                      </c:pt>
                      <c:pt idx="54">
                        <c:v>72.7</c:v>
                      </c:pt>
                      <c:pt idx="55">
                        <c:v>67.400000000000006</c:v>
                      </c:pt>
                      <c:pt idx="56">
                        <c:v>78.599999999999994</c:v>
                      </c:pt>
                      <c:pt idx="57">
                        <c:v>77.8</c:v>
                      </c:pt>
                      <c:pt idx="58">
                        <c:v>77.900000000000006</c:v>
                      </c:pt>
                      <c:pt idx="59">
                        <c:v>78.09999999999999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7C36-491D-9064-745570F9D103}"/>
                  </c:ext>
                </c:extLst>
              </c15:ser>
            </c15:filteredScatterSeries>
            <c15:filteredScatterSeries>
              <c15:ser>
                <c:idx val="7"/>
                <c:order val="8"/>
                <c:tx>
                  <c:v>ASEP BORDER &lt; 50 km/h</c:v>
                </c:tx>
                <c:spPr>
                  <a:ln w="28575" cap="rnd">
                    <a:solidFill>
                      <a:schemeClr val="tx1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4:$Z$10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</c:v>
                      </c:pt>
                      <c:pt idx="1">
                        <c:v>25</c:v>
                      </c:pt>
                      <c:pt idx="2">
                        <c:v>30</c:v>
                      </c:pt>
                      <c:pt idx="3">
                        <c:v>35</c:v>
                      </c:pt>
                      <c:pt idx="4">
                        <c:v>40</c:v>
                      </c:pt>
                      <c:pt idx="5">
                        <c:v>45</c:v>
                      </c:pt>
                      <c:pt idx="6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4:$AC$10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67.475000000000009</c:v>
                      </c:pt>
                      <c:pt idx="1">
                        <c:v>68.31</c:v>
                      </c:pt>
                      <c:pt idx="2">
                        <c:v>69.14500000000001</c:v>
                      </c:pt>
                      <c:pt idx="3">
                        <c:v>69.975000000000009</c:v>
                      </c:pt>
                      <c:pt idx="4">
                        <c:v>70.81</c:v>
                      </c:pt>
                      <c:pt idx="5">
                        <c:v>71.644999999999996</c:v>
                      </c:pt>
                      <c:pt idx="6">
                        <c:v>72.4750000000000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7C36-491D-9064-745570F9D103}"/>
                  </c:ext>
                </c:extLst>
              </c15:ser>
            </c15:filteredScatterSeries>
          </c:ext>
        </c:extLst>
      </c:scatterChart>
      <c:valAx>
        <c:axId val="436408816"/>
        <c:scaling>
          <c:orientation val="minMax"/>
          <c:max val="1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Vehicle Speed [km/h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12144"/>
        <c:crosses val="autoZero"/>
        <c:crossBetween val="midCat"/>
      </c:valAx>
      <c:valAx>
        <c:axId val="436412144"/>
        <c:scaling>
          <c:orientation val="minMax"/>
          <c:max val="110"/>
          <c:min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Sound Pressure Level [dB(A)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0881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6537103174603183E-2"/>
          <c:y val="0.12463794585727403"/>
          <c:w val="0.26604503968253967"/>
          <c:h val="0.17899722222222222"/>
        </c:manualLayout>
      </c:layout>
      <c:overlay val="0"/>
      <c:spPr>
        <a:solidFill>
          <a:schemeClr val="bg1">
            <a:lumMod val="95000"/>
          </a:schemeClr>
        </a:solidFill>
        <a:ln>
          <a:solidFill>
            <a:schemeClr val="bg1">
              <a:lumMod val="75000"/>
            </a:schemeClr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8068948412698416E-2"/>
          <c:y val="0.10240172078092773"/>
          <c:w val="0.89658144841269838"/>
          <c:h val="0.79557794796631254"/>
        </c:manualLayout>
      </c:layout>
      <c:scatterChart>
        <c:scatterStyle val="lineMarker"/>
        <c:varyColors val="0"/>
        <c:ser>
          <c:idx val="5"/>
          <c:order val="0"/>
          <c:tx>
            <c:v>Test Data</c:v>
          </c:tx>
          <c:spPr>
            <a:ln w="19050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>
                    <a:lumMod val="75000"/>
                  </a:schemeClr>
                </a:solidFill>
              </a:ln>
              <a:effectLst/>
            </c:spPr>
          </c:marker>
          <c:xVal>
            <c:numRef>
              <c:f>'ASEP 1'!$X$5:$X$3933</c:f>
              <c:numCache>
                <c:formatCode>0.0</c:formatCode>
                <c:ptCount val="3929"/>
                <c:pt idx="0">
                  <c:v>43.7</c:v>
                </c:pt>
                <c:pt idx="1">
                  <c:v>46.6</c:v>
                </c:pt>
                <c:pt idx="2">
                  <c:v>60.9</c:v>
                </c:pt>
                <c:pt idx="3">
                  <c:v>70</c:v>
                </c:pt>
                <c:pt idx="4">
                  <c:v>78.7</c:v>
                </c:pt>
                <c:pt idx="5">
                  <c:v>88.5</c:v>
                </c:pt>
                <c:pt idx="6">
                  <c:v>54</c:v>
                </c:pt>
                <c:pt idx="7">
                  <c:v>38.299999999999997</c:v>
                </c:pt>
                <c:pt idx="8">
                  <c:v>53.1</c:v>
                </c:pt>
                <c:pt idx="9">
                  <c:v>68.7</c:v>
                </c:pt>
                <c:pt idx="10">
                  <c:v>10.6</c:v>
                </c:pt>
                <c:pt idx="11">
                  <c:v>5.2</c:v>
                </c:pt>
                <c:pt idx="12">
                  <c:v>10.9</c:v>
                </c:pt>
                <c:pt idx="13">
                  <c:v>15.2</c:v>
                </c:pt>
                <c:pt idx="14">
                  <c:v>20.6</c:v>
                </c:pt>
                <c:pt idx="15">
                  <c:v>31.2</c:v>
                </c:pt>
                <c:pt idx="16">
                  <c:v>40.200000000000003</c:v>
                </c:pt>
                <c:pt idx="17">
                  <c:v>60.4</c:v>
                </c:pt>
                <c:pt idx="18">
                  <c:v>70.8</c:v>
                </c:pt>
                <c:pt idx="19">
                  <c:v>80.099999999999994</c:v>
                </c:pt>
                <c:pt idx="20">
                  <c:v>48.9</c:v>
                </c:pt>
                <c:pt idx="21">
                  <c:v>14.5</c:v>
                </c:pt>
                <c:pt idx="22">
                  <c:v>8.1999999999999993</c:v>
                </c:pt>
                <c:pt idx="23">
                  <c:v>5.5</c:v>
                </c:pt>
                <c:pt idx="24">
                  <c:v>38.799999999999997</c:v>
                </c:pt>
                <c:pt idx="25">
                  <c:v>40.4</c:v>
                </c:pt>
                <c:pt idx="26">
                  <c:v>46</c:v>
                </c:pt>
                <c:pt idx="27">
                  <c:v>51.7</c:v>
                </c:pt>
                <c:pt idx="28">
                  <c:v>58.8</c:v>
                </c:pt>
                <c:pt idx="29">
                  <c:v>69.5</c:v>
                </c:pt>
                <c:pt idx="30">
                  <c:v>77.3</c:v>
                </c:pt>
                <c:pt idx="31">
                  <c:v>50.9</c:v>
                </c:pt>
                <c:pt idx="32">
                  <c:v>56.6</c:v>
                </c:pt>
                <c:pt idx="33">
                  <c:v>66.5</c:v>
                </c:pt>
                <c:pt idx="34">
                  <c:v>72.7</c:v>
                </c:pt>
                <c:pt idx="35">
                  <c:v>8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38.9</c:v>
                </c:pt>
                <c:pt idx="101">
                  <c:v>40.6</c:v>
                </c:pt>
                <c:pt idx="102">
                  <c:v>44.9</c:v>
                </c:pt>
                <c:pt idx="103">
                  <c:v>51.8</c:v>
                </c:pt>
                <c:pt idx="104">
                  <c:v>60.7</c:v>
                </c:pt>
                <c:pt idx="105">
                  <c:v>68.099999999999994</c:v>
                </c:pt>
                <c:pt idx="106">
                  <c:v>76.900000000000006</c:v>
                </c:pt>
                <c:pt idx="107">
                  <c:v>73.8</c:v>
                </c:pt>
                <c:pt idx="108">
                  <c:v>81.2</c:v>
                </c:pt>
                <c:pt idx="109">
                  <c:v>50.7</c:v>
                </c:pt>
                <c:pt idx="110">
                  <c:v>56.7</c:v>
                </c:pt>
                <c:pt idx="111">
                  <c:v>66.099999999999994</c:v>
                </c:pt>
                <c:pt idx="112">
                  <c:v>39.9</c:v>
                </c:pt>
                <c:pt idx="113">
                  <c:v>29.9</c:v>
                </c:pt>
                <c:pt idx="114">
                  <c:v>20.5</c:v>
                </c:pt>
                <c:pt idx="115">
                  <c:v>15.7</c:v>
                </c:pt>
                <c:pt idx="116">
                  <c:v>50.3</c:v>
                </c:pt>
                <c:pt idx="117">
                  <c:v>59.2</c:v>
                </c:pt>
                <c:pt idx="118">
                  <c:v>66.599999999999994</c:v>
                </c:pt>
                <c:pt idx="119">
                  <c:v>77.3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38.6</c:v>
                </c:pt>
                <c:pt idx="301">
                  <c:v>40.799999999999997</c:v>
                </c:pt>
                <c:pt idx="302">
                  <c:v>45.6</c:v>
                </c:pt>
                <c:pt idx="303">
                  <c:v>52.1</c:v>
                </c:pt>
                <c:pt idx="304">
                  <c:v>58.3</c:v>
                </c:pt>
                <c:pt idx="305">
                  <c:v>65.099999999999994</c:v>
                </c:pt>
                <c:pt idx="306">
                  <c:v>73.2</c:v>
                </c:pt>
                <c:pt idx="307">
                  <c:v>74.8</c:v>
                </c:pt>
                <c:pt idx="308">
                  <c:v>74.7</c:v>
                </c:pt>
                <c:pt idx="309">
                  <c:v>52.3</c:v>
                </c:pt>
                <c:pt idx="310">
                  <c:v>54.9</c:v>
                </c:pt>
                <c:pt idx="311">
                  <c:v>58.3</c:v>
                </c:pt>
                <c:pt idx="312">
                  <c:v>62.4</c:v>
                </c:pt>
                <c:pt idx="313">
                  <c:v>68.8</c:v>
                </c:pt>
                <c:pt idx="314">
                  <c:v>75.2</c:v>
                </c:pt>
                <c:pt idx="315">
                  <c:v>81</c:v>
                </c:pt>
                <c:pt idx="316">
                  <c:v>10.8</c:v>
                </c:pt>
                <c:pt idx="317">
                  <c:v>30.5</c:v>
                </c:pt>
                <c:pt idx="318">
                  <c:v>38.9</c:v>
                </c:pt>
                <c:pt idx="319">
                  <c:v>20.8</c:v>
                </c:pt>
                <c:pt idx="320">
                  <c:v>48.2</c:v>
                </c:pt>
                <c:pt idx="321">
                  <c:v>58.1</c:v>
                </c:pt>
                <c:pt idx="322">
                  <c:v>68</c:v>
                </c:pt>
                <c:pt idx="323">
                  <c:v>77.599999999999994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36.200000000000003</c:v>
                </c:pt>
                <c:pt idx="401">
                  <c:v>40.200000000000003</c:v>
                </c:pt>
                <c:pt idx="402">
                  <c:v>45.3</c:v>
                </c:pt>
                <c:pt idx="403">
                  <c:v>51.3</c:v>
                </c:pt>
                <c:pt idx="404">
                  <c:v>60.1</c:v>
                </c:pt>
                <c:pt idx="405">
                  <c:v>66.5</c:v>
                </c:pt>
                <c:pt idx="406">
                  <c:v>75</c:v>
                </c:pt>
                <c:pt idx="407">
                  <c:v>82.8</c:v>
                </c:pt>
                <c:pt idx="408">
                  <c:v>52.3</c:v>
                </c:pt>
                <c:pt idx="409">
                  <c:v>54.3</c:v>
                </c:pt>
                <c:pt idx="410">
                  <c:v>58.1</c:v>
                </c:pt>
                <c:pt idx="411">
                  <c:v>64</c:v>
                </c:pt>
                <c:pt idx="412">
                  <c:v>69.2</c:v>
                </c:pt>
                <c:pt idx="413">
                  <c:v>76.400000000000006</c:v>
                </c:pt>
                <c:pt idx="414">
                  <c:v>81.900000000000006</c:v>
                </c:pt>
                <c:pt idx="415">
                  <c:v>77.5</c:v>
                </c:pt>
                <c:pt idx="416">
                  <c:v>68.599999999999994</c:v>
                </c:pt>
                <c:pt idx="417">
                  <c:v>59.2</c:v>
                </c:pt>
                <c:pt idx="418">
                  <c:v>50.2</c:v>
                </c:pt>
                <c:pt idx="419">
                  <c:v>40.5</c:v>
                </c:pt>
                <c:pt idx="420">
                  <c:v>31.1</c:v>
                </c:pt>
                <c:pt idx="421">
                  <c:v>20.7</c:v>
                </c:pt>
                <c:pt idx="422">
                  <c:v>10.5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68.2</c:v>
                </c:pt>
                <c:pt idx="501">
                  <c:v>70.599999999999994</c:v>
                </c:pt>
                <c:pt idx="502">
                  <c:v>71</c:v>
                </c:pt>
                <c:pt idx="503">
                  <c:v>74.3</c:v>
                </c:pt>
                <c:pt idx="504">
                  <c:v>79.400000000000006</c:v>
                </c:pt>
                <c:pt idx="505">
                  <c:v>83.8</c:v>
                </c:pt>
                <c:pt idx="506">
                  <c:v>56.1</c:v>
                </c:pt>
                <c:pt idx="507">
                  <c:v>61.8</c:v>
                </c:pt>
                <c:pt idx="508">
                  <c:v>58.4</c:v>
                </c:pt>
                <c:pt idx="509">
                  <c:v>58.4</c:v>
                </c:pt>
                <c:pt idx="510">
                  <c:v>60.5</c:v>
                </c:pt>
                <c:pt idx="511">
                  <c:v>64.2</c:v>
                </c:pt>
                <c:pt idx="512">
                  <c:v>63.3</c:v>
                </c:pt>
                <c:pt idx="513">
                  <c:v>73.599999999999994</c:v>
                </c:pt>
                <c:pt idx="514">
                  <c:v>79.5</c:v>
                </c:pt>
                <c:pt idx="515">
                  <c:v>78.8</c:v>
                </c:pt>
                <c:pt idx="516">
                  <c:v>83.8</c:v>
                </c:pt>
                <c:pt idx="517">
                  <c:v>90.6</c:v>
                </c:pt>
                <c:pt idx="518">
                  <c:v>38</c:v>
                </c:pt>
                <c:pt idx="519">
                  <c:v>40.200000000000003</c:v>
                </c:pt>
                <c:pt idx="520">
                  <c:v>40.4</c:v>
                </c:pt>
                <c:pt idx="521">
                  <c:v>42.6</c:v>
                </c:pt>
                <c:pt idx="522">
                  <c:v>43.2</c:v>
                </c:pt>
                <c:pt idx="523">
                  <c:v>48.9</c:v>
                </c:pt>
                <c:pt idx="524">
                  <c:v>45.4</c:v>
                </c:pt>
                <c:pt idx="525">
                  <c:v>47.9</c:v>
                </c:pt>
                <c:pt idx="526">
                  <c:v>51.5</c:v>
                </c:pt>
                <c:pt idx="527">
                  <c:v>54</c:v>
                </c:pt>
                <c:pt idx="528">
                  <c:v>56.8</c:v>
                </c:pt>
                <c:pt idx="529">
                  <c:v>60.3</c:v>
                </c:pt>
                <c:pt idx="530">
                  <c:v>67.8</c:v>
                </c:pt>
                <c:pt idx="531">
                  <c:v>74.5</c:v>
                </c:pt>
                <c:pt idx="532">
                  <c:v>75.2</c:v>
                </c:pt>
                <c:pt idx="533">
                  <c:v>70.8</c:v>
                </c:pt>
                <c:pt idx="534">
                  <c:v>60.3</c:v>
                </c:pt>
                <c:pt idx="535">
                  <c:v>50.5</c:v>
                </c:pt>
                <c:pt idx="536">
                  <c:v>44.9</c:v>
                </c:pt>
                <c:pt idx="537">
                  <c:v>40.700000000000003</c:v>
                </c:pt>
                <c:pt idx="538">
                  <c:v>35.1</c:v>
                </c:pt>
                <c:pt idx="539">
                  <c:v>30.9</c:v>
                </c:pt>
                <c:pt idx="540">
                  <c:v>25.4</c:v>
                </c:pt>
                <c:pt idx="541">
                  <c:v>20.3</c:v>
                </c:pt>
                <c:pt idx="542">
                  <c:v>15.7</c:v>
                </c:pt>
                <c:pt idx="543">
                  <c:v>10.5</c:v>
                </c:pt>
                <c:pt idx="544">
                  <c:v>5.2</c:v>
                </c:pt>
                <c:pt idx="545">
                  <c:v>30.7</c:v>
                </c:pt>
                <c:pt idx="546">
                  <c:v>21.1</c:v>
                </c:pt>
                <c:pt idx="547">
                  <c:v>35</c:v>
                </c:pt>
                <c:pt idx="548">
                  <c:v>23</c:v>
                </c:pt>
                <c:pt idx="549">
                  <c:v>31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43.1</c:v>
                </c:pt>
                <c:pt idx="601">
                  <c:v>39.6</c:v>
                </c:pt>
                <c:pt idx="602">
                  <c:v>47.8</c:v>
                </c:pt>
                <c:pt idx="603">
                  <c:v>53.9</c:v>
                </c:pt>
                <c:pt idx="604">
                  <c:v>60.9</c:v>
                </c:pt>
                <c:pt idx="605">
                  <c:v>68.3</c:v>
                </c:pt>
                <c:pt idx="606">
                  <c:v>76.599999999999994</c:v>
                </c:pt>
                <c:pt idx="607">
                  <c:v>85.2</c:v>
                </c:pt>
                <c:pt idx="608">
                  <c:v>83.1</c:v>
                </c:pt>
                <c:pt idx="609">
                  <c:v>67.900000000000006</c:v>
                </c:pt>
                <c:pt idx="610">
                  <c:v>69.900000000000006</c:v>
                </c:pt>
                <c:pt idx="611">
                  <c:v>72.400000000000006</c:v>
                </c:pt>
                <c:pt idx="612">
                  <c:v>74</c:v>
                </c:pt>
                <c:pt idx="613">
                  <c:v>79.2</c:v>
                </c:pt>
                <c:pt idx="614">
                  <c:v>82.9</c:v>
                </c:pt>
                <c:pt idx="615">
                  <c:v>56.7</c:v>
                </c:pt>
                <c:pt idx="616">
                  <c:v>61.3</c:v>
                </c:pt>
                <c:pt idx="617">
                  <c:v>58.1</c:v>
                </c:pt>
                <c:pt idx="618">
                  <c:v>56.3</c:v>
                </c:pt>
                <c:pt idx="619">
                  <c:v>59.2</c:v>
                </c:pt>
                <c:pt idx="620">
                  <c:v>58.8</c:v>
                </c:pt>
                <c:pt idx="621">
                  <c:v>59</c:v>
                </c:pt>
                <c:pt idx="622">
                  <c:v>62.6</c:v>
                </c:pt>
                <c:pt idx="623">
                  <c:v>72.400000000000006</c:v>
                </c:pt>
                <c:pt idx="624">
                  <c:v>79.400000000000006</c:v>
                </c:pt>
                <c:pt idx="625">
                  <c:v>82.9</c:v>
                </c:pt>
                <c:pt idx="626">
                  <c:v>93.6</c:v>
                </c:pt>
                <c:pt idx="627">
                  <c:v>61.7</c:v>
                </c:pt>
                <c:pt idx="628">
                  <c:v>59.2</c:v>
                </c:pt>
                <c:pt idx="629">
                  <c:v>59.2</c:v>
                </c:pt>
                <c:pt idx="630">
                  <c:v>62.7</c:v>
                </c:pt>
                <c:pt idx="631">
                  <c:v>64.099999999999994</c:v>
                </c:pt>
                <c:pt idx="632">
                  <c:v>51.1</c:v>
                </c:pt>
                <c:pt idx="633">
                  <c:v>49.2</c:v>
                </c:pt>
                <c:pt idx="634">
                  <c:v>50.5</c:v>
                </c:pt>
                <c:pt idx="635">
                  <c:v>50.5</c:v>
                </c:pt>
                <c:pt idx="636">
                  <c:v>58.2</c:v>
                </c:pt>
                <c:pt idx="637">
                  <c:v>29.7</c:v>
                </c:pt>
                <c:pt idx="638">
                  <c:v>30.7</c:v>
                </c:pt>
                <c:pt idx="639">
                  <c:v>34.700000000000003</c:v>
                </c:pt>
                <c:pt idx="640">
                  <c:v>41.1</c:v>
                </c:pt>
                <c:pt idx="641">
                  <c:v>48.4</c:v>
                </c:pt>
                <c:pt idx="642">
                  <c:v>55.5</c:v>
                </c:pt>
                <c:pt idx="643">
                  <c:v>34.700000000000003</c:v>
                </c:pt>
                <c:pt idx="644">
                  <c:v>26.7</c:v>
                </c:pt>
                <c:pt idx="645">
                  <c:v>15.3</c:v>
                </c:pt>
                <c:pt idx="646">
                  <c:v>25.5</c:v>
                </c:pt>
                <c:pt idx="647">
                  <c:v>30.2</c:v>
                </c:pt>
                <c:pt idx="648">
                  <c:v>5.3</c:v>
                </c:pt>
                <c:pt idx="649">
                  <c:v>10.7</c:v>
                </c:pt>
                <c:pt idx="650">
                  <c:v>20.8</c:v>
                </c:pt>
                <c:pt idx="651">
                  <c:v>35.5</c:v>
                </c:pt>
                <c:pt idx="652">
                  <c:v>39.9</c:v>
                </c:pt>
                <c:pt idx="653">
                  <c:v>44.9</c:v>
                </c:pt>
                <c:pt idx="654">
                  <c:v>49.5</c:v>
                </c:pt>
                <c:pt idx="655">
                  <c:v>49.5</c:v>
                </c:pt>
                <c:pt idx="656">
                  <c:v>44.9</c:v>
                </c:pt>
                <c:pt idx="657">
                  <c:v>44.7</c:v>
                </c:pt>
                <c:pt idx="658">
                  <c:v>35.1</c:v>
                </c:pt>
                <c:pt idx="659">
                  <c:v>32.4</c:v>
                </c:pt>
                <c:pt idx="660">
                  <c:v>23.4</c:v>
                </c:pt>
                <c:pt idx="661">
                  <c:v>32.799999999999997</c:v>
                </c:pt>
                <c:pt idx="662">
                  <c:v>25.3</c:v>
                </c:pt>
                <c:pt idx="663">
                  <c:v>29.3</c:v>
                </c:pt>
                <c:pt idx="664">
                  <c:v>26.5</c:v>
                </c:pt>
                <c:pt idx="665">
                  <c:v>33.700000000000003</c:v>
                </c:pt>
                <c:pt idx="666">
                  <c:v>28.4</c:v>
                </c:pt>
                <c:pt idx="667">
                  <c:v>35.299999999999997</c:v>
                </c:pt>
                <c:pt idx="668">
                  <c:v>31.6</c:v>
                </c:pt>
                <c:pt idx="669">
                  <c:v>41.8</c:v>
                </c:pt>
                <c:pt idx="670">
                  <c:v>36</c:v>
                </c:pt>
                <c:pt idx="671">
                  <c:v>43.6</c:v>
                </c:pt>
                <c:pt idx="672">
                  <c:v>41.5</c:v>
                </c:pt>
                <c:pt idx="673">
                  <c:v>40</c:v>
                </c:pt>
                <c:pt idx="674">
                  <c:v>46.6</c:v>
                </c:pt>
                <c:pt idx="675">
                  <c:v>44.3</c:v>
                </c:pt>
                <c:pt idx="676">
                  <c:v>51.6</c:v>
                </c:pt>
                <c:pt idx="677">
                  <c:v>49.3</c:v>
                </c:pt>
                <c:pt idx="678">
                  <c:v>5.4</c:v>
                </c:pt>
                <c:pt idx="679">
                  <c:v>15.6</c:v>
                </c:pt>
                <c:pt idx="680">
                  <c:v>25.6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51.7</c:v>
                </c:pt>
                <c:pt idx="701">
                  <c:v>55.2</c:v>
                </c:pt>
                <c:pt idx="702">
                  <c:v>62</c:v>
                </c:pt>
                <c:pt idx="703">
                  <c:v>68.900000000000006</c:v>
                </c:pt>
                <c:pt idx="704">
                  <c:v>73.8</c:v>
                </c:pt>
                <c:pt idx="705">
                  <c:v>75</c:v>
                </c:pt>
                <c:pt idx="706">
                  <c:v>83.7</c:v>
                </c:pt>
                <c:pt idx="707">
                  <c:v>92.4</c:v>
                </c:pt>
                <c:pt idx="708">
                  <c:v>38.700000000000003</c:v>
                </c:pt>
                <c:pt idx="709">
                  <c:v>43.6</c:v>
                </c:pt>
                <c:pt idx="710">
                  <c:v>49.9</c:v>
                </c:pt>
                <c:pt idx="711">
                  <c:v>58.2</c:v>
                </c:pt>
                <c:pt idx="712">
                  <c:v>65.3</c:v>
                </c:pt>
                <c:pt idx="713">
                  <c:v>72.5</c:v>
                </c:pt>
                <c:pt idx="714">
                  <c:v>78.599999999999994</c:v>
                </c:pt>
                <c:pt idx="715">
                  <c:v>74.8</c:v>
                </c:pt>
                <c:pt idx="716">
                  <c:v>78.599999999999994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55.9</c:v>
                </c:pt>
                <c:pt idx="801">
                  <c:v>60.2</c:v>
                </c:pt>
                <c:pt idx="802">
                  <c:v>68.400000000000006</c:v>
                </c:pt>
                <c:pt idx="803">
                  <c:v>71</c:v>
                </c:pt>
                <c:pt idx="804">
                  <c:v>76.099999999999994</c:v>
                </c:pt>
                <c:pt idx="805">
                  <c:v>83.8</c:v>
                </c:pt>
                <c:pt idx="806">
                  <c:v>93.5</c:v>
                </c:pt>
                <c:pt idx="807">
                  <c:v>98.5</c:v>
                </c:pt>
                <c:pt idx="808">
                  <c:v>77.7</c:v>
                </c:pt>
                <c:pt idx="809">
                  <c:v>38.799999999999997</c:v>
                </c:pt>
                <c:pt idx="810">
                  <c:v>45.3</c:v>
                </c:pt>
                <c:pt idx="811">
                  <c:v>52.4</c:v>
                </c:pt>
                <c:pt idx="812">
                  <c:v>68.900000000000006</c:v>
                </c:pt>
                <c:pt idx="813">
                  <c:v>79.3</c:v>
                </c:pt>
                <c:pt idx="814">
                  <c:v>83.6</c:v>
                </c:pt>
                <c:pt idx="815">
                  <c:v>86.3</c:v>
                </c:pt>
                <c:pt idx="816">
                  <c:v>0</c:v>
                </c:pt>
                <c:pt idx="817">
                  <c:v>0</c:v>
                </c:pt>
                <c:pt idx="818">
                  <c:v>0</c:v>
                </c:pt>
                <c:pt idx="819">
                  <c:v>0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</c:v>
                </c:pt>
                <c:pt idx="824">
                  <c:v>0</c:v>
                </c:pt>
                <c:pt idx="825">
                  <c:v>0</c:v>
                </c:pt>
                <c:pt idx="826">
                  <c:v>0</c:v>
                </c:pt>
                <c:pt idx="827">
                  <c:v>0</c:v>
                </c:pt>
                <c:pt idx="828">
                  <c:v>0</c:v>
                </c:pt>
                <c:pt idx="829">
                  <c:v>0</c:v>
                </c:pt>
                <c:pt idx="830">
                  <c:v>0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0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0</c:v>
                </c:pt>
                <c:pt idx="846">
                  <c:v>0</c:v>
                </c:pt>
                <c:pt idx="847">
                  <c:v>0</c:v>
                </c:pt>
                <c:pt idx="848">
                  <c:v>0</c:v>
                </c:pt>
                <c:pt idx="849">
                  <c:v>0</c:v>
                </c:pt>
                <c:pt idx="850">
                  <c:v>0</c:v>
                </c:pt>
                <c:pt idx="851">
                  <c:v>0</c:v>
                </c:pt>
                <c:pt idx="852">
                  <c:v>0</c:v>
                </c:pt>
                <c:pt idx="853">
                  <c:v>0</c:v>
                </c:pt>
                <c:pt idx="854">
                  <c:v>0</c:v>
                </c:pt>
                <c:pt idx="855">
                  <c:v>0</c:v>
                </c:pt>
                <c:pt idx="856">
                  <c:v>0</c:v>
                </c:pt>
                <c:pt idx="857">
                  <c:v>0</c:v>
                </c:pt>
                <c:pt idx="858">
                  <c:v>0</c:v>
                </c:pt>
                <c:pt idx="859">
                  <c:v>0</c:v>
                </c:pt>
                <c:pt idx="860">
                  <c:v>0</c:v>
                </c:pt>
                <c:pt idx="861">
                  <c:v>0</c:v>
                </c:pt>
                <c:pt idx="862">
                  <c:v>0</c:v>
                </c:pt>
                <c:pt idx="863">
                  <c:v>0</c:v>
                </c:pt>
                <c:pt idx="864">
                  <c:v>0</c:v>
                </c:pt>
                <c:pt idx="865">
                  <c:v>0</c:v>
                </c:pt>
                <c:pt idx="866">
                  <c:v>0</c:v>
                </c:pt>
                <c:pt idx="867">
                  <c:v>0</c:v>
                </c:pt>
                <c:pt idx="868">
                  <c:v>0</c:v>
                </c:pt>
                <c:pt idx="869">
                  <c:v>0</c:v>
                </c:pt>
                <c:pt idx="870">
                  <c:v>0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0</c:v>
                </c:pt>
                <c:pt idx="875">
                  <c:v>0</c:v>
                </c:pt>
                <c:pt idx="876">
                  <c:v>0</c:v>
                </c:pt>
                <c:pt idx="877">
                  <c:v>0</c:v>
                </c:pt>
                <c:pt idx="878">
                  <c:v>0</c:v>
                </c:pt>
                <c:pt idx="879">
                  <c:v>0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0</c:v>
                </c:pt>
                <c:pt idx="884">
                  <c:v>0</c:v>
                </c:pt>
                <c:pt idx="885">
                  <c:v>0</c:v>
                </c:pt>
                <c:pt idx="886">
                  <c:v>0</c:v>
                </c:pt>
                <c:pt idx="887">
                  <c:v>0</c:v>
                </c:pt>
                <c:pt idx="888">
                  <c:v>0</c:v>
                </c:pt>
                <c:pt idx="889">
                  <c:v>0</c:v>
                </c:pt>
                <c:pt idx="890">
                  <c:v>0</c:v>
                </c:pt>
                <c:pt idx="891">
                  <c:v>0</c:v>
                </c:pt>
                <c:pt idx="892">
                  <c:v>0</c:v>
                </c:pt>
                <c:pt idx="893">
                  <c:v>0</c:v>
                </c:pt>
                <c:pt idx="894">
                  <c:v>0</c:v>
                </c:pt>
                <c:pt idx="895">
                  <c:v>0</c:v>
                </c:pt>
                <c:pt idx="896">
                  <c:v>0</c:v>
                </c:pt>
                <c:pt idx="897">
                  <c:v>0</c:v>
                </c:pt>
                <c:pt idx="898">
                  <c:v>0</c:v>
                </c:pt>
                <c:pt idx="899">
                  <c:v>0</c:v>
                </c:pt>
                <c:pt idx="900">
                  <c:v>33.5</c:v>
                </c:pt>
                <c:pt idx="901">
                  <c:v>37.200000000000003</c:v>
                </c:pt>
                <c:pt idx="902">
                  <c:v>42.4</c:v>
                </c:pt>
                <c:pt idx="903">
                  <c:v>48.6</c:v>
                </c:pt>
                <c:pt idx="904">
                  <c:v>57.1</c:v>
                </c:pt>
                <c:pt idx="905">
                  <c:v>65.099999999999994</c:v>
                </c:pt>
                <c:pt idx="906">
                  <c:v>74</c:v>
                </c:pt>
                <c:pt idx="907">
                  <c:v>83.7</c:v>
                </c:pt>
                <c:pt idx="908">
                  <c:v>92</c:v>
                </c:pt>
                <c:pt idx="909">
                  <c:v>100</c:v>
                </c:pt>
                <c:pt idx="910">
                  <c:v>33.799999999999997</c:v>
                </c:pt>
                <c:pt idx="911">
                  <c:v>37.200000000000003</c:v>
                </c:pt>
                <c:pt idx="912">
                  <c:v>41.8</c:v>
                </c:pt>
                <c:pt idx="913">
                  <c:v>49.3</c:v>
                </c:pt>
                <c:pt idx="914">
                  <c:v>55.9</c:v>
                </c:pt>
                <c:pt idx="915">
                  <c:v>64.5</c:v>
                </c:pt>
                <c:pt idx="916">
                  <c:v>73.900000000000006</c:v>
                </c:pt>
                <c:pt idx="917">
                  <c:v>82.9</c:v>
                </c:pt>
                <c:pt idx="918">
                  <c:v>91.5</c:v>
                </c:pt>
                <c:pt idx="919">
                  <c:v>99.4</c:v>
                </c:pt>
                <c:pt idx="920">
                  <c:v>53.1</c:v>
                </c:pt>
                <c:pt idx="921">
                  <c:v>55.7</c:v>
                </c:pt>
                <c:pt idx="922">
                  <c:v>58.5</c:v>
                </c:pt>
                <c:pt idx="923">
                  <c:v>63.5</c:v>
                </c:pt>
                <c:pt idx="924">
                  <c:v>70.7</c:v>
                </c:pt>
                <c:pt idx="925">
                  <c:v>78.8</c:v>
                </c:pt>
                <c:pt idx="926">
                  <c:v>85</c:v>
                </c:pt>
                <c:pt idx="927">
                  <c:v>91</c:v>
                </c:pt>
                <c:pt idx="928">
                  <c:v>92.9</c:v>
                </c:pt>
                <c:pt idx="929">
                  <c:v>100.2</c:v>
                </c:pt>
                <c:pt idx="930">
                  <c:v>91.2</c:v>
                </c:pt>
                <c:pt idx="931">
                  <c:v>84.1</c:v>
                </c:pt>
                <c:pt idx="932">
                  <c:v>99.9</c:v>
                </c:pt>
                <c:pt idx="933">
                  <c:v>54</c:v>
                </c:pt>
                <c:pt idx="934">
                  <c:v>54.4</c:v>
                </c:pt>
                <c:pt idx="935">
                  <c:v>54.6</c:v>
                </c:pt>
                <c:pt idx="936">
                  <c:v>54.3</c:v>
                </c:pt>
                <c:pt idx="937">
                  <c:v>50.1</c:v>
                </c:pt>
                <c:pt idx="938">
                  <c:v>49.8</c:v>
                </c:pt>
                <c:pt idx="939">
                  <c:v>49.9</c:v>
                </c:pt>
                <c:pt idx="940">
                  <c:v>49.7</c:v>
                </c:pt>
                <c:pt idx="941">
                  <c:v>10.6</c:v>
                </c:pt>
                <c:pt idx="942">
                  <c:v>20.2</c:v>
                </c:pt>
                <c:pt idx="943">
                  <c:v>31.2</c:v>
                </c:pt>
                <c:pt idx="944">
                  <c:v>30.6</c:v>
                </c:pt>
                <c:pt idx="945">
                  <c:v>40.299999999999997</c:v>
                </c:pt>
                <c:pt idx="946">
                  <c:v>50.1</c:v>
                </c:pt>
                <c:pt idx="947">
                  <c:v>60.4</c:v>
                </c:pt>
                <c:pt idx="948">
                  <c:v>70.599999999999994</c:v>
                </c:pt>
                <c:pt idx="949">
                  <c:v>79.599999999999994</c:v>
                </c:pt>
                <c:pt idx="950">
                  <c:v>90.1</c:v>
                </c:pt>
                <c:pt idx="951">
                  <c:v>98.8</c:v>
                </c:pt>
                <c:pt idx="952">
                  <c:v>38.4</c:v>
                </c:pt>
                <c:pt idx="953">
                  <c:v>66.3</c:v>
                </c:pt>
                <c:pt idx="954">
                  <c:v>78</c:v>
                </c:pt>
                <c:pt idx="955">
                  <c:v>54.2</c:v>
                </c:pt>
                <c:pt idx="956">
                  <c:v>89</c:v>
                </c:pt>
                <c:pt idx="957">
                  <c:v>87.3</c:v>
                </c:pt>
                <c:pt idx="958">
                  <c:v>88</c:v>
                </c:pt>
                <c:pt idx="959">
                  <c:v>87.8</c:v>
                </c:pt>
                <c:pt idx="960">
                  <c:v>87.4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0</c:v>
                </c:pt>
                <c:pt idx="993">
                  <c:v>0</c:v>
                </c:pt>
                <c:pt idx="994">
                  <c:v>0</c:v>
                </c:pt>
                <c:pt idx="995">
                  <c:v>0</c:v>
                </c:pt>
                <c:pt idx="996">
                  <c:v>0</c:v>
                </c:pt>
                <c:pt idx="997">
                  <c:v>0</c:v>
                </c:pt>
                <c:pt idx="998">
                  <c:v>0</c:v>
                </c:pt>
                <c:pt idx="999">
                  <c:v>0</c:v>
                </c:pt>
                <c:pt idx="1000">
                  <c:v>51.9</c:v>
                </c:pt>
                <c:pt idx="1001">
                  <c:v>78.7</c:v>
                </c:pt>
                <c:pt idx="1002">
                  <c:v>39.799999999999997</c:v>
                </c:pt>
                <c:pt idx="1003">
                  <c:v>44.4</c:v>
                </c:pt>
                <c:pt idx="1004">
                  <c:v>51.2</c:v>
                </c:pt>
                <c:pt idx="1005">
                  <c:v>58.7</c:v>
                </c:pt>
                <c:pt idx="1006">
                  <c:v>66.2</c:v>
                </c:pt>
                <c:pt idx="1007">
                  <c:v>74.7</c:v>
                </c:pt>
                <c:pt idx="1008">
                  <c:v>83.8</c:v>
                </c:pt>
                <c:pt idx="1009">
                  <c:v>93.4</c:v>
                </c:pt>
                <c:pt idx="1010">
                  <c:v>57.9</c:v>
                </c:pt>
                <c:pt idx="1011">
                  <c:v>56.9</c:v>
                </c:pt>
                <c:pt idx="1012">
                  <c:v>58.2</c:v>
                </c:pt>
                <c:pt idx="1013">
                  <c:v>48.8</c:v>
                </c:pt>
                <c:pt idx="1014">
                  <c:v>41.1</c:v>
                </c:pt>
                <c:pt idx="1015">
                  <c:v>36.799999999999997</c:v>
                </c:pt>
                <c:pt idx="1016">
                  <c:v>29.9</c:v>
                </c:pt>
                <c:pt idx="1017">
                  <c:v>9.8000000000000007</c:v>
                </c:pt>
                <c:pt idx="1018">
                  <c:v>89.1</c:v>
                </c:pt>
                <c:pt idx="1019">
                  <c:v>19.2</c:v>
                </c:pt>
                <c:pt idx="1020">
                  <c:v>30.9</c:v>
                </c:pt>
                <c:pt idx="1021">
                  <c:v>41</c:v>
                </c:pt>
                <c:pt idx="1022">
                  <c:v>50.2</c:v>
                </c:pt>
                <c:pt idx="1023">
                  <c:v>60</c:v>
                </c:pt>
                <c:pt idx="1024">
                  <c:v>70.099999999999994</c:v>
                </c:pt>
                <c:pt idx="1025">
                  <c:v>81.599999999999994</c:v>
                </c:pt>
                <c:pt idx="1026">
                  <c:v>60.9</c:v>
                </c:pt>
                <c:pt idx="1027">
                  <c:v>63.2</c:v>
                </c:pt>
                <c:pt idx="1028">
                  <c:v>67.5</c:v>
                </c:pt>
                <c:pt idx="1029">
                  <c:v>71.900000000000006</c:v>
                </c:pt>
                <c:pt idx="1030">
                  <c:v>77.599999999999994</c:v>
                </c:pt>
                <c:pt idx="1031">
                  <c:v>84.1</c:v>
                </c:pt>
                <c:pt idx="1032">
                  <c:v>90.6</c:v>
                </c:pt>
                <c:pt idx="1033">
                  <c:v>98</c:v>
                </c:pt>
                <c:pt idx="1034">
                  <c:v>80.5</c:v>
                </c:pt>
                <c:pt idx="1035">
                  <c:v>52.6</c:v>
                </c:pt>
                <c:pt idx="1036">
                  <c:v>56.1</c:v>
                </c:pt>
                <c:pt idx="1037">
                  <c:v>61.8</c:v>
                </c:pt>
                <c:pt idx="1038">
                  <c:v>67.400000000000006</c:v>
                </c:pt>
                <c:pt idx="1039">
                  <c:v>73.5</c:v>
                </c:pt>
                <c:pt idx="1040">
                  <c:v>88.3</c:v>
                </c:pt>
                <c:pt idx="1041">
                  <c:v>97.5</c:v>
                </c:pt>
                <c:pt idx="1042">
                  <c:v>93.2</c:v>
                </c:pt>
                <c:pt idx="1043">
                  <c:v>43.7</c:v>
                </c:pt>
                <c:pt idx="1044">
                  <c:v>48.2</c:v>
                </c:pt>
                <c:pt idx="1045">
                  <c:v>54.3</c:v>
                </c:pt>
                <c:pt idx="1046">
                  <c:v>60.3</c:v>
                </c:pt>
                <c:pt idx="1047">
                  <c:v>68.3</c:v>
                </c:pt>
                <c:pt idx="1048">
                  <c:v>75.7</c:v>
                </c:pt>
                <c:pt idx="1049">
                  <c:v>84.7</c:v>
                </c:pt>
                <c:pt idx="1050">
                  <c:v>32.299999999999997</c:v>
                </c:pt>
                <c:pt idx="1051">
                  <c:v>37.799999999999997</c:v>
                </c:pt>
                <c:pt idx="1052">
                  <c:v>45.5</c:v>
                </c:pt>
                <c:pt idx="1053">
                  <c:v>53.1</c:v>
                </c:pt>
                <c:pt idx="1054">
                  <c:v>62.2</c:v>
                </c:pt>
                <c:pt idx="1055">
                  <c:v>71.5</c:v>
                </c:pt>
                <c:pt idx="1056">
                  <c:v>80.900000000000006</c:v>
                </c:pt>
                <c:pt idx="1057">
                  <c:v>91</c:v>
                </c:pt>
                <c:pt idx="1058">
                  <c:v>58.1</c:v>
                </c:pt>
                <c:pt idx="1059">
                  <c:v>48.9</c:v>
                </c:pt>
                <c:pt idx="1060">
                  <c:v>48.8</c:v>
                </c:pt>
                <c:pt idx="1061">
                  <c:v>41.8</c:v>
                </c:pt>
                <c:pt idx="1062">
                  <c:v>31.3</c:v>
                </c:pt>
                <c:pt idx="1063">
                  <c:v>28.5</c:v>
                </c:pt>
                <c:pt idx="1064">
                  <c:v>23.5</c:v>
                </c:pt>
                <c:pt idx="1065">
                  <c:v>7.5</c:v>
                </c:pt>
                <c:pt idx="1066">
                  <c:v>19.8</c:v>
                </c:pt>
                <c:pt idx="1067">
                  <c:v>30</c:v>
                </c:pt>
                <c:pt idx="1068">
                  <c:v>40.5</c:v>
                </c:pt>
                <c:pt idx="1069">
                  <c:v>50.6</c:v>
                </c:pt>
                <c:pt idx="1070">
                  <c:v>60.9</c:v>
                </c:pt>
                <c:pt idx="1071">
                  <c:v>70.599999999999994</c:v>
                </c:pt>
                <c:pt idx="1072">
                  <c:v>90.6</c:v>
                </c:pt>
                <c:pt idx="1073">
                  <c:v>80.599999999999994</c:v>
                </c:pt>
                <c:pt idx="1074">
                  <c:v>59.4</c:v>
                </c:pt>
                <c:pt idx="1075">
                  <c:v>83.3</c:v>
                </c:pt>
                <c:pt idx="1076">
                  <c:v>94.7</c:v>
                </c:pt>
                <c:pt idx="1077">
                  <c:v>49</c:v>
                </c:pt>
                <c:pt idx="1078">
                  <c:v>52.3</c:v>
                </c:pt>
                <c:pt idx="1079">
                  <c:v>56.9</c:v>
                </c:pt>
                <c:pt idx="1080">
                  <c:v>63.2</c:v>
                </c:pt>
                <c:pt idx="1081">
                  <c:v>69.8</c:v>
                </c:pt>
                <c:pt idx="1082">
                  <c:v>78.400000000000006</c:v>
                </c:pt>
                <c:pt idx="1083">
                  <c:v>86.3</c:v>
                </c:pt>
                <c:pt idx="1084">
                  <c:v>37.799999999999997</c:v>
                </c:pt>
                <c:pt idx="1085">
                  <c:v>42.7</c:v>
                </c:pt>
                <c:pt idx="1086">
                  <c:v>48.9</c:v>
                </c:pt>
                <c:pt idx="1087">
                  <c:v>56.4</c:v>
                </c:pt>
                <c:pt idx="1088">
                  <c:v>65.099999999999994</c:v>
                </c:pt>
                <c:pt idx="1089">
                  <c:v>73.3</c:v>
                </c:pt>
                <c:pt idx="1090">
                  <c:v>82.5</c:v>
                </c:pt>
                <c:pt idx="1091">
                  <c:v>91.2</c:v>
                </c:pt>
                <c:pt idx="1092">
                  <c:v>58.3</c:v>
                </c:pt>
                <c:pt idx="1093">
                  <c:v>58.7</c:v>
                </c:pt>
                <c:pt idx="1094">
                  <c:v>56.5</c:v>
                </c:pt>
                <c:pt idx="1095">
                  <c:v>46.3</c:v>
                </c:pt>
                <c:pt idx="1096">
                  <c:v>38.299999999999997</c:v>
                </c:pt>
                <c:pt idx="1097">
                  <c:v>0</c:v>
                </c:pt>
                <c:pt idx="1098">
                  <c:v>0</c:v>
                </c:pt>
                <c:pt idx="1099">
                  <c:v>0</c:v>
                </c:pt>
                <c:pt idx="1100">
                  <c:v>50.2</c:v>
                </c:pt>
                <c:pt idx="1101">
                  <c:v>53.3</c:v>
                </c:pt>
                <c:pt idx="1102">
                  <c:v>52.9</c:v>
                </c:pt>
                <c:pt idx="1103">
                  <c:v>58.6</c:v>
                </c:pt>
                <c:pt idx="1104">
                  <c:v>62</c:v>
                </c:pt>
                <c:pt idx="1105">
                  <c:v>67.599999999999994</c:v>
                </c:pt>
                <c:pt idx="1106">
                  <c:v>75.8</c:v>
                </c:pt>
                <c:pt idx="1107">
                  <c:v>83.3</c:v>
                </c:pt>
                <c:pt idx="1108">
                  <c:v>92.3</c:v>
                </c:pt>
                <c:pt idx="1109">
                  <c:v>100.9</c:v>
                </c:pt>
                <c:pt idx="1110">
                  <c:v>34.1</c:v>
                </c:pt>
                <c:pt idx="1111">
                  <c:v>46.1</c:v>
                </c:pt>
                <c:pt idx="1112">
                  <c:v>47.6</c:v>
                </c:pt>
                <c:pt idx="1113">
                  <c:v>40.700000000000003</c:v>
                </c:pt>
                <c:pt idx="1114">
                  <c:v>37.700000000000003</c:v>
                </c:pt>
                <c:pt idx="1115">
                  <c:v>52.2</c:v>
                </c:pt>
                <c:pt idx="1116">
                  <c:v>46.9</c:v>
                </c:pt>
                <c:pt idx="1117">
                  <c:v>37.9</c:v>
                </c:pt>
                <c:pt idx="1118">
                  <c:v>45.7</c:v>
                </c:pt>
                <c:pt idx="1119">
                  <c:v>44.8</c:v>
                </c:pt>
                <c:pt idx="1120">
                  <c:v>51.4</c:v>
                </c:pt>
                <c:pt idx="1121">
                  <c:v>53.1</c:v>
                </c:pt>
                <c:pt idx="1122">
                  <c:v>58.9</c:v>
                </c:pt>
                <c:pt idx="1123">
                  <c:v>57.7</c:v>
                </c:pt>
                <c:pt idx="1124">
                  <c:v>65.5</c:v>
                </c:pt>
                <c:pt idx="1125">
                  <c:v>64.599999999999994</c:v>
                </c:pt>
                <c:pt idx="1126">
                  <c:v>70.7</c:v>
                </c:pt>
                <c:pt idx="1127">
                  <c:v>70.599999999999994</c:v>
                </c:pt>
                <c:pt idx="1128">
                  <c:v>78.8</c:v>
                </c:pt>
                <c:pt idx="1129">
                  <c:v>102.5</c:v>
                </c:pt>
                <c:pt idx="1130">
                  <c:v>14.6</c:v>
                </c:pt>
                <c:pt idx="1131">
                  <c:v>21.5</c:v>
                </c:pt>
                <c:pt idx="1132">
                  <c:v>30.4</c:v>
                </c:pt>
                <c:pt idx="1133">
                  <c:v>40.200000000000003</c:v>
                </c:pt>
                <c:pt idx="1134">
                  <c:v>50</c:v>
                </c:pt>
                <c:pt idx="1135">
                  <c:v>59.7</c:v>
                </c:pt>
                <c:pt idx="1136">
                  <c:v>70</c:v>
                </c:pt>
                <c:pt idx="1137">
                  <c:v>79.099999999999994</c:v>
                </c:pt>
                <c:pt idx="1138">
                  <c:v>89.4</c:v>
                </c:pt>
                <c:pt idx="1139">
                  <c:v>99.1</c:v>
                </c:pt>
                <c:pt idx="1140">
                  <c:v>0</c:v>
                </c:pt>
                <c:pt idx="1141">
                  <c:v>0</c:v>
                </c:pt>
                <c:pt idx="1142">
                  <c:v>0</c:v>
                </c:pt>
                <c:pt idx="1143">
                  <c:v>0</c:v>
                </c:pt>
                <c:pt idx="1144">
                  <c:v>0</c:v>
                </c:pt>
                <c:pt idx="1145">
                  <c:v>0</c:v>
                </c:pt>
                <c:pt idx="1146">
                  <c:v>0</c:v>
                </c:pt>
                <c:pt idx="1147">
                  <c:v>0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0</c:v>
                </c:pt>
                <c:pt idx="1165">
                  <c:v>0</c:v>
                </c:pt>
                <c:pt idx="1166">
                  <c:v>0</c:v>
                </c:pt>
                <c:pt idx="1167">
                  <c:v>0</c:v>
                </c:pt>
                <c:pt idx="1168">
                  <c:v>0</c:v>
                </c:pt>
                <c:pt idx="1169">
                  <c:v>0</c:v>
                </c:pt>
                <c:pt idx="1170">
                  <c:v>0</c:v>
                </c:pt>
                <c:pt idx="1171">
                  <c:v>0</c:v>
                </c:pt>
                <c:pt idx="1172">
                  <c:v>0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0</c:v>
                </c:pt>
                <c:pt idx="1177">
                  <c:v>0</c:v>
                </c:pt>
                <c:pt idx="1178">
                  <c:v>0</c:v>
                </c:pt>
                <c:pt idx="1179">
                  <c:v>0</c:v>
                </c:pt>
                <c:pt idx="1180">
                  <c:v>0</c:v>
                </c:pt>
                <c:pt idx="1181">
                  <c:v>0</c:v>
                </c:pt>
                <c:pt idx="1182">
                  <c:v>0</c:v>
                </c:pt>
                <c:pt idx="1183">
                  <c:v>0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0</c:v>
                </c:pt>
                <c:pt idx="1189">
                  <c:v>0</c:v>
                </c:pt>
                <c:pt idx="1190">
                  <c:v>0</c:v>
                </c:pt>
                <c:pt idx="1191">
                  <c:v>0</c:v>
                </c:pt>
                <c:pt idx="1192">
                  <c:v>0</c:v>
                </c:pt>
                <c:pt idx="1193">
                  <c:v>0</c:v>
                </c:pt>
                <c:pt idx="1194">
                  <c:v>0</c:v>
                </c:pt>
                <c:pt idx="1195">
                  <c:v>0</c:v>
                </c:pt>
                <c:pt idx="1196">
                  <c:v>0</c:v>
                </c:pt>
                <c:pt idx="1197">
                  <c:v>0</c:v>
                </c:pt>
                <c:pt idx="1198">
                  <c:v>0</c:v>
                </c:pt>
                <c:pt idx="1199">
                  <c:v>0</c:v>
                </c:pt>
                <c:pt idx="1200">
                  <c:v>0</c:v>
                </c:pt>
                <c:pt idx="1201">
                  <c:v>0</c:v>
                </c:pt>
                <c:pt idx="1202">
                  <c:v>0</c:v>
                </c:pt>
                <c:pt idx="1203">
                  <c:v>0</c:v>
                </c:pt>
                <c:pt idx="1204">
                  <c:v>0</c:v>
                </c:pt>
                <c:pt idx="1205">
                  <c:v>0</c:v>
                </c:pt>
                <c:pt idx="1206">
                  <c:v>0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0</c:v>
                </c:pt>
                <c:pt idx="1228">
                  <c:v>0</c:v>
                </c:pt>
                <c:pt idx="1229">
                  <c:v>0</c:v>
                </c:pt>
                <c:pt idx="1230">
                  <c:v>0</c:v>
                </c:pt>
                <c:pt idx="1231">
                  <c:v>0</c:v>
                </c:pt>
                <c:pt idx="1232">
                  <c:v>0</c:v>
                </c:pt>
                <c:pt idx="1233">
                  <c:v>0</c:v>
                </c:pt>
                <c:pt idx="1234">
                  <c:v>0</c:v>
                </c:pt>
                <c:pt idx="1235">
                  <c:v>0</c:v>
                </c:pt>
                <c:pt idx="1236">
                  <c:v>0</c:v>
                </c:pt>
                <c:pt idx="1237">
                  <c:v>0</c:v>
                </c:pt>
                <c:pt idx="1238">
                  <c:v>0</c:v>
                </c:pt>
                <c:pt idx="1239">
                  <c:v>0</c:v>
                </c:pt>
                <c:pt idx="1240">
                  <c:v>0</c:v>
                </c:pt>
                <c:pt idx="1241">
                  <c:v>0</c:v>
                </c:pt>
                <c:pt idx="1242">
                  <c:v>0</c:v>
                </c:pt>
                <c:pt idx="1243">
                  <c:v>0</c:v>
                </c:pt>
                <c:pt idx="1244">
                  <c:v>0</c:v>
                </c:pt>
                <c:pt idx="1245">
                  <c:v>0</c:v>
                </c:pt>
                <c:pt idx="1246">
                  <c:v>0</c:v>
                </c:pt>
                <c:pt idx="1247">
                  <c:v>0</c:v>
                </c:pt>
                <c:pt idx="1248">
                  <c:v>0</c:v>
                </c:pt>
                <c:pt idx="1249">
                  <c:v>0</c:v>
                </c:pt>
                <c:pt idx="1250">
                  <c:v>0</c:v>
                </c:pt>
                <c:pt idx="1251">
                  <c:v>0</c:v>
                </c:pt>
                <c:pt idx="1252">
                  <c:v>0</c:v>
                </c:pt>
                <c:pt idx="1253">
                  <c:v>0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0</c:v>
                </c:pt>
                <c:pt idx="1258">
                  <c:v>0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0</c:v>
                </c:pt>
                <c:pt idx="1273">
                  <c:v>0</c:v>
                </c:pt>
                <c:pt idx="1274">
                  <c:v>0</c:v>
                </c:pt>
                <c:pt idx="1275">
                  <c:v>0</c:v>
                </c:pt>
                <c:pt idx="1276">
                  <c:v>0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0</c:v>
                </c:pt>
                <c:pt idx="1282">
                  <c:v>0</c:v>
                </c:pt>
                <c:pt idx="1283">
                  <c:v>0</c:v>
                </c:pt>
                <c:pt idx="1284">
                  <c:v>0</c:v>
                </c:pt>
                <c:pt idx="1285">
                  <c:v>0</c:v>
                </c:pt>
                <c:pt idx="1286">
                  <c:v>0</c:v>
                </c:pt>
                <c:pt idx="1287">
                  <c:v>0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  <c:pt idx="1319">
                  <c:v>0</c:v>
                </c:pt>
                <c:pt idx="1320">
                  <c:v>0</c:v>
                </c:pt>
                <c:pt idx="1321">
                  <c:v>0</c:v>
                </c:pt>
                <c:pt idx="1322">
                  <c:v>0</c:v>
                </c:pt>
                <c:pt idx="1323">
                  <c:v>0</c:v>
                </c:pt>
                <c:pt idx="1324">
                  <c:v>0</c:v>
                </c:pt>
                <c:pt idx="1325">
                  <c:v>0</c:v>
                </c:pt>
                <c:pt idx="1326">
                  <c:v>0</c:v>
                </c:pt>
                <c:pt idx="1327">
                  <c:v>0</c:v>
                </c:pt>
                <c:pt idx="1328">
                  <c:v>0</c:v>
                </c:pt>
                <c:pt idx="1329">
                  <c:v>0</c:v>
                </c:pt>
                <c:pt idx="1330">
                  <c:v>0</c:v>
                </c:pt>
                <c:pt idx="1331">
                  <c:v>0</c:v>
                </c:pt>
                <c:pt idx="1332">
                  <c:v>0</c:v>
                </c:pt>
                <c:pt idx="1333">
                  <c:v>0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0</c:v>
                </c:pt>
                <c:pt idx="1338">
                  <c:v>0</c:v>
                </c:pt>
                <c:pt idx="1339">
                  <c:v>0</c:v>
                </c:pt>
                <c:pt idx="1340">
                  <c:v>0</c:v>
                </c:pt>
                <c:pt idx="1341">
                  <c:v>0</c:v>
                </c:pt>
                <c:pt idx="1342">
                  <c:v>0</c:v>
                </c:pt>
                <c:pt idx="1343">
                  <c:v>0</c:v>
                </c:pt>
                <c:pt idx="1344">
                  <c:v>0</c:v>
                </c:pt>
                <c:pt idx="1345">
                  <c:v>0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0</c:v>
                </c:pt>
                <c:pt idx="1378">
                  <c:v>0</c:v>
                </c:pt>
                <c:pt idx="1379">
                  <c:v>0</c:v>
                </c:pt>
                <c:pt idx="1380">
                  <c:v>0</c:v>
                </c:pt>
                <c:pt idx="1381">
                  <c:v>0</c:v>
                </c:pt>
                <c:pt idx="1382">
                  <c:v>0</c:v>
                </c:pt>
                <c:pt idx="1383">
                  <c:v>0</c:v>
                </c:pt>
                <c:pt idx="1384">
                  <c:v>0</c:v>
                </c:pt>
                <c:pt idx="1385">
                  <c:v>0</c:v>
                </c:pt>
                <c:pt idx="1386">
                  <c:v>0</c:v>
                </c:pt>
                <c:pt idx="1387">
                  <c:v>0</c:v>
                </c:pt>
                <c:pt idx="1388">
                  <c:v>0</c:v>
                </c:pt>
                <c:pt idx="1389">
                  <c:v>0</c:v>
                </c:pt>
                <c:pt idx="1390">
                  <c:v>0</c:v>
                </c:pt>
                <c:pt idx="1391">
                  <c:v>0</c:v>
                </c:pt>
                <c:pt idx="1392">
                  <c:v>0</c:v>
                </c:pt>
                <c:pt idx="1393">
                  <c:v>0</c:v>
                </c:pt>
                <c:pt idx="1394">
                  <c:v>0</c:v>
                </c:pt>
                <c:pt idx="1395">
                  <c:v>0</c:v>
                </c:pt>
                <c:pt idx="1396">
                  <c:v>0</c:v>
                </c:pt>
                <c:pt idx="1397">
                  <c:v>0</c:v>
                </c:pt>
                <c:pt idx="1398">
                  <c:v>0</c:v>
                </c:pt>
                <c:pt idx="1399">
                  <c:v>0</c:v>
                </c:pt>
                <c:pt idx="1400">
                  <c:v>0</c:v>
                </c:pt>
                <c:pt idx="1401">
                  <c:v>0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0</c:v>
                </c:pt>
                <c:pt idx="1415">
                  <c:v>0</c:v>
                </c:pt>
                <c:pt idx="1416">
                  <c:v>0</c:v>
                </c:pt>
                <c:pt idx="1417">
                  <c:v>0</c:v>
                </c:pt>
                <c:pt idx="1418">
                  <c:v>0</c:v>
                </c:pt>
                <c:pt idx="1419">
                  <c:v>0</c:v>
                </c:pt>
                <c:pt idx="1420">
                  <c:v>0</c:v>
                </c:pt>
                <c:pt idx="1421">
                  <c:v>0</c:v>
                </c:pt>
                <c:pt idx="1422">
                  <c:v>0</c:v>
                </c:pt>
                <c:pt idx="1423">
                  <c:v>0</c:v>
                </c:pt>
                <c:pt idx="1424">
                  <c:v>0</c:v>
                </c:pt>
                <c:pt idx="1425">
                  <c:v>0</c:v>
                </c:pt>
                <c:pt idx="1426">
                  <c:v>0</c:v>
                </c:pt>
                <c:pt idx="1427">
                  <c:v>0</c:v>
                </c:pt>
                <c:pt idx="1428">
                  <c:v>0</c:v>
                </c:pt>
                <c:pt idx="1429">
                  <c:v>0</c:v>
                </c:pt>
                <c:pt idx="1430">
                  <c:v>0</c:v>
                </c:pt>
                <c:pt idx="1431">
                  <c:v>0</c:v>
                </c:pt>
                <c:pt idx="1432">
                  <c:v>0</c:v>
                </c:pt>
                <c:pt idx="1433">
                  <c:v>0</c:v>
                </c:pt>
                <c:pt idx="1434">
                  <c:v>0</c:v>
                </c:pt>
                <c:pt idx="1435">
                  <c:v>0</c:v>
                </c:pt>
                <c:pt idx="1436">
                  <c:v>0</c:v>
                </c:pt>
                <c:pt idx="1437">
                  <c:v>0</c:v>
                </c:pt>
                <c:pt idx="1438">
                  <c:v>0</c:v>
                </c:pt>
                <c:pt idx="1439">
                  <c:v>0</c:v>
                </c:pt>
                <c:pt idx="1440">
                  <c:v>0</c:v>
                </c:pt>
                <c:pt idx="1441">
                  <c:v>0</c:v>
                </c:pt>
                <c:pt idx="1442">
                  <c:v>0</c:v>
                </c:pt>
                <c:pt idx="1443">
                  <c:v>0</c:v>
                </c:pt>
                <c:pt idx="1444">
                  <c:v>0</c:v>
                </c:pt>
                <c:pt idx="1445">
                  <c:v>0</c:v>
                </c:pt>
                <c:pt idx="1446">
                  <c:v>0</c:v>
                </c:pt>
                <c:pt idx="1447">
                  <c:v>0</c:v>
                </c:pt>
                <c:pt idx="1448">
                  <c:v>0</c:v>
                </c:pt>
                <c:pt idx="1449">
                  <c:v>0</c:v>
                </c:pt>
                <c:pt idx="1450">
                  <c:v>0</c:v>
                </c:pt>
                <c:pt idx="1451">
                  <c:v>0</c:v>
                </c:pt>
                <c:pt idx="1452">
                  <c:v>0</c:v>
                </c:pt>
                <c:pt idx="1453">
                  <c:v>0</c:v>
                </c:pt>
                <c:pt idx="1454">
                  <c:v>0</c:v>
                </c:pt>
                <c:pt idx="1455">
                  <c:v>0</c:v>
                </c:pt>
                <c:pt idx="1456">
                  <c:v>0</c:v>
                </c:pt>
                <c:pt idx="1457">
                  <c:v>0</c:v>
                </c:pt>
                <c:pt idx="1458">
                  <c:v>0</c:v>
                </c:pt>
                <c:pt idx="1459">
                  <c:v>0</c:v>
                </c:pt>
                <c:pt idx="1460">
                  <c:v>0</c:v>
                </c:pt>
                <c:pt idx="1461">
                  <c:v>0</c:v>
                </c:pt>
                <c:pt idx="1462">
                  <c:v>0</c:v>
                </c:pt>
                <c:pt idx="1463">
                  <c:v>0</c:v>
                </c:pt>
                <c:pt idx="1464">
                  <c:v>0</c:v>
                </c:pt>
                <c:pt idx="1465">
                  <c:v>0</c:v>
                </c:pt>
                <c:pt idx="1466">
                  <c:v>0</c:v>
                </c:pt>
                <c:pt idx="1467">
                  <c:v>0</c:v>
                </c:pt>
                <c:pt idx="1468">
                  <c:v>0</c:v>
                </c:pt>
                <c:pt idx="1469">
                  <c:v>0</c:v>
                </c:pt>
                <c:pt idx="1470">
                  <c:v>0</c:v>
                </c:pt>
                <c:pt idx="1471">
                  <c:v>0</c:v>
                </c:pt>
                <c:pt idx="1472">
                  <c:v>0</c:v>
                </c:pt>
                <c:pt idx="1473">
                  <c:v>0</c:v>
                </c:pt>
                <c:pt idx="1474">
                  <c:v>0</c:v>
                </c:pt>
                <c:pt idx="1475">
                  <c:v>0</c:v>
                </c:pt>
                <c:pt idx="1476">
                  <c:v>0</c:v>
                </c:pt>
                <c:pt idx="1477">
                  <c:v>0</c:v>
                </c:pt>
                <c:pt idx="1478">
                  <c:v>0</c:v>
                </c:pt>
                <c:pt idx="1479">
                  <c:v>0</c:v>
                </c:pt>
                <c:pt idx="1480">
                  <c:v>0</c:v>
                </c:pt>
                <c:pt idx="1481">
                  <c:v>0</c:v>
                </c:pt>
                <c:pt idx="1482">
                  <c:v>0</c:v>
                </c:pt>
                <c:pt idx="1483">
                  <c:v>0</c:v>
                </c:pt>
                <c:pt idx="1484">
                  <c:v>0</c:v>
                </c:pt>
                <c:pt idx="1485">
                  <c:v>0</c:v>
                </c:pt>
                <c:pt idx="1486">
                  <c:v>0</c:v>
                </c:pt>
                <c:pt idx="1487">
                  <c:v>0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0</c:v>
                </c:pt>
                <c:pt idx="1506">
                  <c:v>0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0</c:v>
                </c:pt>
                <c:pt idx="1512">
                  <c:v>0</c:v>
                </c:pt>
                <c:pt idx="1513">
                  <c:v>0</c:v>
                </c:pt>
                <c:pt idx="1514">
                  <c:v>0</c:v>
                </c:pt>
                <c:pt idx="1515">
                  <c:v>0</c:v>
                </c:pt>
                <c:pt idx="1516">
                  <c:v>0</c:v>
                </c:pt>
                <c:pt idx="1517">
                  <c:v>0</c:v>
                </c:pt>
                <c:pt idx="1518">
                  <c:v>0</c:v>
                </c:pt>
                <c:pt idx="1519">
                  <c:v>0</c:v>
                </c:pt>
                <c:pt idx="1520">
                  <c:v>0</c:v>
                </c:pt>
                <c:pt idx="1521">
                  <c:v>0</c:v>
                </c:pt>
                <c:pt idx="1522">
                  <c:v>0</c:v>
                </c:pt>
                <c:pt idx="1523">
                  <c:v>0</c:v>
                </c:pt>
                <c:pt idx="1524">
                  <c:v>0</c:v>
                </c:pt>
                <c:pt idx="1525">
                  <c:v>0</c:v>
                </c:pt>
                <c:pt idx="1526">
                  <c:v>0</c:v>
                </c:pt>
                <c:pt idx="1527">
                  <c:v>0</c:v>
                </c:pt>
                <c:pt idx="1528">
                  <c:v>0</c:v>
                </c:pt>
                <c:pt idx="1529">
                  <c:v>0</c:v>
                </c:pt>
                <c:pt idx="1530">
                  <c:v>0</c:v>
                </c:pt>
                <c:pt idx="1531">
                  <c:v>0</c:v>
                </c:pt>
                <c:pt idx="1532">
                  <c:v>0</c:v>
                </c:pt>
                <c:pt idx="1533">
                  <c:v>0</c:v>
                </c:pt>
                <c:pt idx="1534">
                  <c:v>0</c:v>
                </c:pt>
                <c:pt idx="1535">
                  <c:v>0</c:v>
                </c:pt>
                <c:pt idx="1536">
                  <c:v>0</c:v>
                </c:pt>
                <c:pt idx="1537">
                  <c:v>0</c:v>
                </c:pt>
                <c:pt idx="1538">
                  <c:v>0</c:v>
                </c:pt>
                <c:pt idx="1539">
                  <c:v>0</c:v>
                </c:pt>
                <c:pt idx="1540">
                  <c:v>0</c:v>
                </c:pt>
                <c:pt idx="1541">
                  <c:v>0</c:v>
                </c:pt>
                <c:pt idx="1542">
                  <c:v>0</c:v>
                </c:pt>
                <c:pt idx="1543">
                  <c:v>0</c:v>
                </c:pt>
                <c:pt idx="1544">
                  <c:v>0</c:v>
                </c:pt>
                <c:pt idx="1545">
                  <c:v>0</c:v>
                </c:pt>
                <c:pt idx="1546">
                  <c:v>0</c:v>
                </c:pt>
                <c:pt idx="1547">
                  <c:v>0</c:v>
                </c:pt>
                <c:pt idx="1548">
                  <c:v>0</c:v>
                </c:pt>
                <c:pt idx="1549">
                  <c:v>0</c:v>
                </c:pt>
                <c:pt idx="1550">
                  <c:v>0</c:v>
                </c:pt>
                <c:pt idx="1551">
                  <c:v>0</c:v>
                </c:pt>
                <c:pt idx="1552">
                  <c:v>0</c:v>
                </c:pt>
                <c:pt idx="1553">
                  <c:v>0</c:v>
                </c:pt>
                <c:pt idx="1554">
                  <c:v>0</c:v>
                </c:pt>
                <c:pt idx="1555">
                  <c:v>0</c:v>
                </c:pt>
                <c:pt idx="1556">
                  <c:v>0</c:v>
                </c:pt>
                <c:pt idx="1557">
                  <c:v>0</c:v>
                </c:pt>
                <c:pt idx="1558">
                  <c:v>0</c:v>
                </c:pt>
                <c:pt idx="1559">
                  <c:v>0</c:v>
                </c:pt>
                <c:pt idx="1560">
                  <c:v>0</c:v>
                </c:pt>
                <c:pt idx="1561">
                  <c:v>0</c:v>
                </c:pt>
                <c:pt idx="1562">
                  <c:v>0</c:v>
                </c:pt>
                <c:pt idx="1563">
                  <c:v>0</c:v>
                </c:pt>
                <c:pt idx="1564">
                  <c:v>0</c:v>
                </c:pt>
                <c:pt idx="1565">
                  <c:v>0</c:v>
                </c:pt>
                <c:pt idx="1566">
                  <c:v>0</c:v>
                </c:pt>
                <c:pt idx="1567">
                  <c:v>0</c:v>
                </c:pt>
                <c:pt idx="1568">
                  <c:v>0</c:v>
                </c:pt>
                <c:pt idx="1569">
                  <c:v>0</c:v>
                </c:pt>
                <c:pt idx="1570">
                  <c:v>0</c:v>
                </c:pt>
                <c:pt idx="1571">
                  <c:v>0</c:v>
                </c:pt>
                <c:pt idx="1572">
                  <c:v>0</c:v>
                </c:pt>
                <c:pt idx="1573">
                  <c:v>0</c:v>
                </c:pt>
                <c:pt idx="1574">
                  <c:v>0</c:v>
                </c:pt>
                <c:pt idx="1575">
                  <c:v>0</c:v>
                </c:pt>
                <c:pt idx="1576">
                  <c:v>0</c:v>
                </c:pt>
                <c:pt idx="1577">
                  <c:v>0</c:v>
                </c:pt>
                <c:pt idx="1578">
                  <c:v>0</c:v>
                </c:pt>
                <c:pt idx="1579">
                  <c:v>0</c:v>
                </c:pt>
                <c:pt idx="1580">
                  <c:v>0</c:v>
                </c:pt>
                <c:pt idx="1581">
                  <c:v>0</c:v>
                </c:pt>
                <c:pt idx="1582">
                  <c:v>0</c:v>
                </c:pt>
                <c:pt idx="1583">
                  <c:v>0</c:v>
                </c:pt>
                <c:pt idx="1584">
                  <c:v>0</c:v>
                </c:pt>
                <c:pt idx="1585">
                  <c:v>0</c:v>
                </c:pt>
                <c:pt idx="1586">
                  <c:v>0</c:v>
                </c:pt>
                <c:pt idx="1587">
                  <c:v>0</c:v>
                </c:pt>
                <c:pt idx="1588">
                  <c:v>0</c:v>
                </c:pt>
                <c:pt idx="1589">
                  <c:v>0</c:v>
                </c:pt>
                <c:pt idx="1590">
                  <c:v>0</c:v>
                </c:pt>
                <c:pt idx="1591">
                  <c:v>0</c:v>
                </c:pt>
                <c:pt idx="1592">
                  <c:v>0</c:v>
                </c:pt>
                <c:pt idx="1593">
                  <c:v>0</c:v>
                </c:pt>
                <c:pt idx="1594">
                  <c:v>0</c:v>
                </c:pt>
                <c:pt idx="1595">
                  <c:v>0</c:v>
                </c:pt>
                <c:pt idx="1596">
                  <c:v>0</c:v>
                </c:pt>
                <c:pt idx="1597">
                  <c:v>0</c:v>
                </c:pt>
                <c:pt idx="1598">
                  <c:v>0</c:v>
                </c:pt>
                <c:pt idx="1599">
                  <c:v>0</c:v>
                </c:pt>
                <c:pt idx="1600">
                  <c:v>0</c:v>
                </c:pt>
                <c:pt idx="1601">
                  <c:v>0</c:v>
                </c:pt>
                <c:pt idx="1602">
                  <c:v>0</c:v>
                </c:pt>
                <c:pt idx="1603">
                  <c:v>0</c:v>
                </c:pt>
                <c:pt idx="1604">
                  <c:v>0</c:v>
                </c:pt>
                <c:pt idx="1605">
                  <c:v>0</c:v>
                </c:pt>
                <c:pt idx="1606">
                  <c:v>0</c:v>
                </c:pt>
                <c:pt idx="1607">
                  <c:v>0</c:v>
                </c:pt>
                <c:pt idx="1608">
                  <c:v>0</c:v>
                </c:pt>
                <c:pt idx="1609">
                  <c:v>0</c:v>
                </c:pt>
                <c:pt idx="1610">
                  <c:v>0</c:v>
                </c:pt>
                <c:pt idx="1611">
                  <c:v>0</c:v>
                </c:pt>
                <c:pt idx="1612">
                  <c:v>0</c:v>
                </c:pt>
                <c:pt idx="1613">
                  <c:v>0</c:v>
                </c:pt>
                <c:pt idx="1614">
                  <c:v>0</c:v>
                </c:pt>
                <c:pt idx="1615">
                  <c:v>0</c:v>
                </c:pt>
                <c:pt idx="1616">
                  <c:v>0</c:v>
                </c:pt>
                <c:pt idx="1617">
                  <c:v>0</c:v>
                </c:pt>
                <c:pt idx="1618">
                  <c:v>0</c:v>
                </c:pt>
                <c:pt idx="1619">
                  <c:v>0</c:v>
                </c:pt>
                <c:pt idx="1620">
                  <c:v>0</c:v>
                </c:pt>
                <c:pt idx="1621">
                  <c:v>0</c:v>
                </c:pt>
                <c:pt idx="1622">
                  <c:v>0</c:v>
                </c:pt>
                <c:pt idx="1623">
                  <c:v>0</c:v>
                </c:pt>
                <c:pt idx="1624">
                  <c:v>0</c:v>
                </c:pt>
                <c:pt idx="1625">
                  <c:v>0</c:v>
                </c:pt>
                <c:pt idx="1626">
                  <c:v>0</c:v>
                </c:pt>
                <c:pt idx="1627">
                  <c:v>0</c:v>
                </c:pt>
                <c:pt idx="1628">
                  <c:v>0</c:v>
                </c:pt>
                <c:pt idx="1629">
                  <c:v>0</c:v>
                </c:pt>
                <c:pt idx="1630">
                  <c:v>0</c:v>
                </c:pt>
                <c:pt idx="1631">
                  <c:v>0</c:v>
                </c:pt>
                <c:pt idx="1632">
                  <c:v>0</c:v>
                </c:pt>
                <c:pt idx="1633">
                  <c:v>0</c:v>
                </c:pt>
                <c:pt idx="1634">
                  <c:v>0</c:v>
                </c:pt>
                <c:pt idx="1635">
                  <c:v>0</c:v>
                </c:pt>
                <c:pt idx="1636">
                  <c:v>0</c:v>
                </c:pt>
                <c:pt idx="1637">
                  <c:v>0</c:v>
                </c:pt>
                <c:pt idx="1638">
                  <c:v>0</c:v>
                </c:pt>
                <c:pt idx="1639">
                  <c:v>0</c:v>
                </c:pt>
                <c:pt idx="1640">
                  <c:v>0</c:v>
                </c:pt>
                <c:pt idx="1641">
                  <c:v>0</c:v>
                </c:pt>
                <c:pt idx="1642">
                  <c:v>0</c:v>
                </c:pt>
                <c:pt idx="1643">
                  <c:v>0</c:v>
                </c:pt>
                <c:pt idx="1644">
                  <c:v>0</c:v>
                </c:pt>
                <c:pt idx="1645">
                  <c:v>0</c:v>
                </c:pt>
                <c:pt idx="1646">
                  <c:v>0</c:v>
                </c:pt>
                <c:pt idx="1647">
                  <c:v>0</c:v>
                </c:pt>
                <c:pt idx="1648">
                  <c:v>0</c:v>
                </c:pt>
                <c:pt idx="1649">
                  <c:v>0</c:v>
                </c:pt>
                <c:pt idx="1650">
                  <c:v>0</c:v>
                </c:pt>
                <c:pt idx="1651">
                  <c:v>0</c:v>
                </c:pt>
                <c:pt idx="1652">
                  <c:v>0</c:v>
                </c:pt>
                <c:pt idx="1653">
                  <c:v>0</c:v>
                </c:pt>
                <c:pt idx="1654">
                  <c:v>0</c:v>
                </c:pt>
                <c:pt idx="1655">
                  <c:v>0</c:v>
                </c:pt>
                <c:pt idx="1656">
                  <c:v>0</c:v>
                </c:pt>
                <c:pt idx="1657">
                  <c:v>0</c:v>
                </c:pt>
                <c:pt idx="1658">
                  <c:v>0</c:v>
                </c:pt>
                <c:pt idx="1659">
                  <c:v>0</c:v>
                </c:pt>
                <c:pt idx="1660">
                  <c:v>0</c:v>
                </c:pt>
                <c:pt idx="1661">
                  <c:v>0</c:v>
                </c:pt>
                <c:pt idx="1662">
                  <c:v>0</c:v>
                </c:pt>
                <c:pt idx="1663">
                  <c:v>0</c:v>
                </c:pt>
                <c:pt idx="1664">
                  <c:v>0</c:v>
                </c:pt>
                <c:pt idx="1665">
                  <c:v>0</c:v>
                </c:pt>
                <c:pt idx="1666">
                  <c:v>0</c:v>
                </c:pt>
                <c:pt idx="1667">
                  <c:v>0</c:v>
                </c:pt>
                <c:pt idx="1668">
                  <c:v>0</c:v>
                </c:pt>
                <c:pt idx="1669">
                  <c:v>0</c:v>
                </c:pt>
                <c:pt idx="1670">
                  <c:v>0</c:v>
                </c:pt>
                <c:pt idx="1671">
                  <c:v>0</c:v>
                </c:pt>
                <c:pt idx="1672">
                  <c:v>0</c:v>
                </c:pt>
                <c:pt idx="1673">
                  <c:v>0</c:v>
                </c:pt>
                <c:pt idx="1674">
                  <c:v>0</c:v>
                </c:pt>
                <c:pt idx="1675">
                  <c:v>0</c:v>
                </c:pt>
                <c:pt idx="1676">
                  <c:v>0</c:v>
                </c:pt>
                <c:pt idx="1677">
                  <c:v>0</c:v>
                </c:pt>
                <c:pt idx="1678">
                  <c:v>0</c:v>
                </c:pt>
                <c:pt idx="1679">
                  <c:v>0</c:v>
                </c:pt>
                <c:pt idx="1680">
                  <c:v>0</c:v>
                </c:pt>
                <c:pt idx="1681">
                  <c:v>0</c:v>
                </c:pt>
                <c:pt idx="1682">
                  <c:v>0</c:v>
                </c:pt>
                <c:pt idx="1683">
                  <c:v>0</c:v>
                </c:pt>
                <c:pt idx="1684">
                  <c:v>0</c:v>
                </c:pt>
                <c:pt idx="1685">
                  <c:v>0</c:v>
                </c:pt>
                <c:pt idx="1686">
                  <c:v>0</c:v>
                </c:pt>
                <c:pt idx="1687">
                  <c:v>0</c:v>
                </c:pt>
                <c:pt idx="1688">
                  <c:v>0</c:v>
                </c:pt>
                <c:pt idx="1689">
                  <c:v>0</c:v>
                </c:pt>
                <c:pt idx="1690">
                  <c:v>0</c:v>
                </c:pt>
                <c:pt idx="1691">
                  <c:v>0</c:v>
                </c:pt>
                <c:pt idx="1692">
                  <c:v>0</c:v>
                </c:pt>
                <c:pt idx="1693">
                  <c:v>0</c:v>
                </c:pt>
                <c:pt idx="1694">
                  <c:v>0</c:v>
                </c:pt>
                <c:pt idx="1695">
                  <c:v>0</c:v>
                </c:pt>
                <c:pt idx="1696">
                  <c:v>0</c:v>
                </c:pt>
                <c:pt idx="1697">
                  <c:v>0</c:v>
                </c:pt>
                <c:pt idx="1698">
                  <c:v>0</c:v>
                </c:pt>
                <c:pt idx="1699">
                  <c:v>0</c:v>
                </c:pt>
                <c:pt idx="1700">
                  <c:v>0</c:v>
                </c:pt>
                <c:pt idx="1701">
                  <c:v>0</c:v>
                </c:pt>
                <c:pt idx="1702">
                  <c:v>0</c:v>
                </c:pt>
                <c:pt idx="1703">
                  <c:v>0</c:v>
                </c:pt>
                <c:pt idx="1704">
                  <c:v>0</c:v>
                </c:pt>
                <c:pt idx="1705">
                  <c:v>0</c:v>
                </c:pt>
                <c:pt idx="1706">
                  <c:v>0</c:v>
                </c:pt>
                <c:pt idx="1707">
                  <c:v>0</c:v>
                </c:pt>
                <c:pt idx="1708">
                  <c:v>0</c:v>
                </c:pt>
                <c:pt idx="1709">
                  <c:v>0</c:v>
                </c:pt>
                <c:pt idx="1710">
                  <c:v>0</c:v>
                </c:pt>
                <c:pt idx="1711">
                  <c:v>0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0</c:v>
                </c:pt>
                <c:pt idx="1733">
                  <c:v>0</c:v>
                </c:pt>
                <c:pt idx="1734">
                  <c:v>0</c:v>
                </c:pt>
                <c:pt idx="1735">
                  <c:v>0</c:v>
                </c:pt>
                <c:pt idx="1736">
                  <c:v>0</c:v>
                </c:pt>
                <c:pt idx="1737">
                  <c:v>0</c:v>
                </c:pt>
                <c:pt idx="1738">
                  <c:v>0</c:v>
                </c:pt>
                <c:pt idx="1739">
                  <c:v>0</c:v>
                </c:pt>
                <c:pt idx="1740">
                  <c:v>0</c:v>
                </c:pt>
                <c:pt idx="1741">
                  <c:v>0</c:v>
                </c:pt>
                <c:pt idx="1742">
                  <c:v>0</c:v>
                </c:pt>
                <c:pt idx="1743">
                  <c:v>0</c:v>
                </c:pt>
                <c:pt idx="1744">
                  <c:v>0</c:v>
                </c:pt>
                <c:pt idx="1745">
                  <c:v>0</c:v>
                </c:pt>
                <c:pt idx="1746">
                  <c:v>0</c:v>
                </c:pt>
                <c:pt idx="1747">
                  <c:v>0</c:v>
                </c:pt>
                <c:pt idx="1748">
                  <c:v>0</c:v>
                </c:pt>
                <c:pt idx="1749">
                  <c:v>0</c:v>
                </c:pt>
                <c:pt idx="1750">
                  <c:v>0</c:v>
                </c:pt>
                <c:pt idx="1751">
                  <c:v>0</c:v>
                </c:pt>
                <c:pt idx="1752">
                  <c:v>0</c:v>
                </c:pt>
                <c:pt idx="1753">
                  <c:v>0</c:v>
                </c:pt>
                <c:pt idx="1754">
                  <c:v>0</c:v>
                </c:pt>
                <c:pt idx="1755">
                  <c:v>0</c:v>
                </c:pt>
                <c:pt idx="1756">
                  <c:v>0</c:v>
                </c:pt>
                <c:pt idx="1757">
                  <c:v>0</c:v>
                </c:pt>
                <c:pt idx="1758">
                  <c:v>0</c:v>
                </c:pt>
                <c:pt idx="1759">
                  <c:v>0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</c:v>
                </c:pt>
                <c:pt idx="1764">
                  <c:v>0</c:v>
                </c:pt>
                <c:pt idx="1765">
                  <c:v>0</c:v>
                </c:pt>
                <c:pt idx="1766">
                  <c:v>0</c:v>
                </c:pt>
                <c:pt idx="1767">
                  <c:v>0</c:v>
                </c:pt>
                <c:pt idx="1768">
                  <c:v>0</c:v>
                </c:pt>
                <c:pt idx="1769">
                  <c:v>0</c:v>
                </c:pt>
                <c:pt idx="1770">
                  <c:v>0</c:v>
                </c:pt>
                <c:pt idx="1771">
                  <c:v>0</c:v>
                </c:pt>
                <c:pt idx="1772">
                  <c:v>0</c:v>
                </c:pt>
                <c:pt idx="1773">
                  <c:v>0</c:v>
                </c:pt>
                <c:pt idx="1774">
                  <c:v>0</c:v>
                </c:pt>
                <c:pt idx="1775">
                  <c:v>0</c:v>
                </c:pt>
                <c:pt idx="1776">
                  <c:v>0</c:v>
                </c:pt>
                <c:pt idx="1777">
                  <c:v>0</c:v>
                </c:pt>
                <c:pt idx="1778">
                  <c:v>0</c:v>
                </c:pt>
                <c:pt idx="1779">
                  <c:v>0</c:v>
                </c:pt>
                <c:pt idx="1780">
                  <c:v>0</c:v>
                </c:pt>
                <c:pt idx="1781">
                  <c:v>0</c:v>
                </c:pt>
                <c:pt idx="1782">
                  <c:v>0</c:v>
                </c:pt>
                <c:pt idx="1783">
                  <c:v>0</c:v>
                </c:pt>
                <c:pt idx="1784">
                  <c:v>0</c:v>
                </c:pt>
                <c:pt idx="1785">
                  <c:v>0</c:v>
                </c:pt>
                <c:pt idx="1786">
                  <c:v>0</c:v>
                </c:pt>
                <c:pt idx="1787">
                  <c:v>0</c:v>
                </c:pt>
                <c:pt idx="1788">
                  <c:v>0</c:v>
                </c:pt>
                <c:pt idx="1789">
                  <c:v>0</c:v>
                </c:pt>
                <c:pt idx="1790">
                  <c:v>0</c:v>
                </c:pt>
                <c:pt idx="1791">
                  <c:v>0</c:v>
                </c:pt>
                <c:pt idx="1792">
                  <c:v>0</c:v>
                </c:pt>
                <c:pt idx="1793">
                  <c:v>0</c:v>
                </c:pt>
                <c:pt idx="1794">
                  <c:v>0</c:v>
                </c:pt>
                <c:pt idx="1795">
                  <c:v>0</c:v>
                </c:pt>
                <c:pt idx="1796">
                  <c:v>0</c:v>
                </c:pt>
                <c:pt idx="1797">
                  <c:v>0</c:v>
                </c:pt>
                <c:pt idx="1798">
                  <c:v>0</c:v>
                </c:pt>
                <c:pt idx="1799">
                  <c:v>0</c:v>
                </c:pt>
                <c:pt idx="1800">
                  <c:v>0</c:v>
                </c:pt>
                <c:pt idx="1801">
                  <c:v>0</c:v>
                </c:pt>
                <c:pt idx="1802">
                  <c:v>0</c:v>
                </c:pt>
                <c:pt idx="1803">
                  <c:v>0</c:v>
                </c:pt>
                <c:pt idx="1804">
                  <c:v>0</c:v>
                </c:pt>
                <c:pt idx="1805">
                  <c:v>0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0</c:v>
                </c:pt>
                <c:pt idx="1810">
                  <c:v>0</c:v>
                </c:pt>
                <c:pt idx="1811">
                  <c:v>0</c:v>
                </c:pt>
                <c:pt idx="1812">
                  <c:v>0</c:v>
                </c:pt>
                <c:pt idx="1813">
                  <c:v>0</c:v>
                </c:pt>
                <c:pt idx="1814">
                  <c:v>0</c:v>
                </c:pt>
                <c:pt idx="1815">
                  <c:v>0</c:v>
                </c:pt>
                <c:pt idx="1816">
                  <c:v>0</c:v>
                </c:pt>
                <c:pt idx="1817">
                  <c:v>0</c:v>
                </c:pt>
                <c:pt idx="1818">
                  <c:v>0</c:v>
                </c:pt>
                <c:pt idx="1819">
                  <c:v>0</c:v>
                </c:pt>
                <c:pt idx="1820">
                  <c:v>0</c:v>
                </c:pt>
                <c:pt idx="1821">
                  <c:v>0</c:v>
                </c:pt>
                <c:pt idx="1822">
                  <c:v>0</c:v>
                </c:pt>
                <c:pt idx="1823">
                  <c:v>0</c:v>
                </c:pt>
                <c:pt idx="1824">
                  <c:v>0</c:v>
                </c:pt>
                <c:pt idx="1825">
                  <c:v>0</c:v>
                </c:pt>
                <c:pt idx="1826">
                  <c:v>0</c:v>
                </c:pt>
                <c:pt idx="1827">
                  <c:v>0</c:v>
                </c:pt>
                <c:pt idx="1828">
                  <c:v>0</c:v>
                </c:pt>
                <c:pt idx="1829">
                  <c:v>0</c:v>
                </c:pt>
                <c:pt idx="1830">
                  <c:v>0</c:v>
                </c:pt>
                <c:pt idx="1831">
                  <c:v>0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0</c:v>
                </c:pt>
                <c:pt idx="1836">
                  <c:v>0</c:v>
                </c:pt>
                <c:pt idx="1837">
                  <c:v>0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0</c:v>
                </c:pt>
                <c:pt idx="1842">
                  <c:v>0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0</c:v>
                </c:pt>
                <c:pt idx="1864">
                  <c:v>0</c:v>
                </c:pt>
                <c:pt idx="1865">
                  <c:v>0</c:v>
                </c:pt>
                <c:pt idx="1866">
                  <c:v>0</c:v>
                </c:pt>
                <c:pt idx="1867">
                  <c:v>0</c:v>
                </c:pt>
                <c:pt idx="1868">
                  <c:v>0</c:v>
                </c:pt>
                <c:pt idx="1869">
                  <c:v>0</c:v>
                </c:pt>
                <c:pt idx="1870">
                  <c:v>0</c:v>
                </c:pt>
                <c:pt idx="1871">
                  <c:v>0</c:v>
                </c:pt>
                <c:pt idx="1872">
                  <c:v>0</c:v>
                </c:pt>
                <c:pt idx="1873">
                  <c:v>0</c:v>
                </c:pt>
                <c:pt idx="1874">
                  <c:v>0</c:v>
                </c:pt>
                <c:pt idx="1875">
                  <c:v>0</c:v>
                </c:pt>
                <c:pt idx="1876">
                  <c:v>0</c:v>
                </c:pt>
                <c:pt idx="1877">
                  <c:v>0</c:v>
                </c:pt>
                <c:pt idx="1878">
                  <c:v>0</c:v>
                </c:pt>
                <c:pt idx="1879">
                  <c:v>0</c:v>
                </c:pt>
                <c:pt idx="1880">
                  <c:v>0</c:v>
                </c:pt>
                <c:pt idx="1881">
                  <c:v>0</c:v>
                </c:pt>
                <c:pt idx="1882">
                  <c:v>0</c:v>
                </c:pt>
                <c:pt idx="1883">
                  <c:v>0</c:v>
                </c:pt>
                <c:pt idx="1884">
                  <c:v>0</c:v>
                </c:pt>
                <c:pt idx="1885">
                  <c:v>0</c:v>
                </c:pt>
                <c:pt idx="1886">
                  <c:v>0</c:v>
                </c:pt>
                <c:pt idx="1887">
                  <c:v>0</c:v>
                </c:pt>
                <c:pt idx="1888">
                  <c:v>0</c:v>
                </c:pt>
                <c:pt idx="1889">
                  <c:v>0</c:v>
                </c:pt>
                <c:pt idx="1890">
                  <c:v>0</c:v>
                </c:pt>
                <c:pt idx="1891">
                  <c:v>0</c:v>
                </c:pt>
                <c:pt idx="1892">
                  <c:v>0</c:v>
                </c:pt>
                <c:pt idx="1893">
                  <c:v>0</c:v>
                </c:pt>
                <c:pt idx="1894">
                  <c:v>0</c:v>
                </c:pt>
                <c:pt idx="1895">
                  <c:v>0</c:v>
                </c:pt>
                <c:pt idx="1896">
                  <c:v>0</c:v>
                </c:pt>
                <c:pt idx="1897">
                  <c:v>0</c:v>
                </c:pt>
                <c:pt idx="1898">
                  <c:v>0</c:v>
                </c:pt>
                <c:pt idx="1899">
                  <c:v>0</c:v>
                </c:pt>
                <c:pt idx="1900">
                  <c:v>0</c:v>
                </c:pt>
                <c:pt idx="1901">
                  <c:v>0</c:v>
                </c:pt>
                <c:pt idx="1902">
                  <c:v>0</c:v>
                </c:pt>
                <c:pt idx="1903">
                  <c:v>0</c:v>
                </c:pt>
                <c:pt idx="1904">
                  <c:v>0</c:v>
                </c:pt>
                <c:pt idx="1905">
                  <c:v>0</c:v>
                </c:pt>
                <c:pt idx="1906">
                  <c:v>0</c:v>
                </c:pt>
                <c:pt idx="1907">
                  <c:v>0</c:v>
                </c:pt>
                <c:pt idx="1908">
                  <c:v>0</c:v>
                </c:pt>
                <c:pt idx="1909">
                  <c:v>0</c:v>
                </c:pt>
                <c:pt idx="1910">
                  <c:v>0</c:v>
                </c:pt>
                <c:pt idx="1911">
                  <c:v>0</c:v>
                </c:pt>
                <c:pt idx="1912">
                  <c:v>0</c:v>
                </c:pt>
                <c:pt idx="1913">
                  <c:v>0</c:v>
                </c:pt>
                <c:pt idx="1914">
                  <c:v>0</c:v>
                </c:pt>
                <c:pt idx="1915">
                  <c:v>0</c:v>
                </c:pt>
                <c:pt idx="1916">
                  <c:v>0</c:v>
                </c:pt>
                <c:pt idx="1917">
                  <c:v>0</c:v>
                </c:pt>
                <c:pt idx="1918">
                  <c:v>0</c:v>
                </c:pt>
                <c:pt idx="1919">
                  <c:v>0</c:v>
                </c:pt>
                <c:pt idx="1920">
                  <c:v>0</c:v>
                </c:pt>
                <c:pt idx="1921">
                  <c:v>0</c:v>
                </c:pt>
                <c:pt idx="1922">
                  <c:v>0</c:v>
                </c:pt>
                <c:pt idx="1923">
                  <c:v>0</c:v>
                </c:pt>
                <c:pt idx="1924">
                  <c:v>0</c:v>
                </c:pt>
                <c:pt idx="1925">
                  <c:v>0</c:v>
                </c:pt>
                <c:pt idx="1926">
                  <c:v>0</c:v>
                </c:pt>
                <c:pt idx="1927">
                  <c:v>0</c:v>
                </c:pt>
                <c:pt idx="1928">
                  <c:v>0</c:v>
                </c:pt>
                <c:pt idx="1929">
                  <c:v>0</c:v>
                </c:pt>
                <c:pt idx="1930">
                  <c:v>0</c:v>
                </c:pt>
                <c:pt idx="1931">
                  <c:v>0</c:v>
                </c:pt>
                <c:pt idx="1932">
                  <c:v>0</c:v>
                </c:pt>
                <c:pt idx="1933">
                  <c:v>0</c:v>
                </c:pt>
                <c:pt idx="1934">
                  <c:v>0</c:v>
                </c:pt>
                <c:pt idx="1935">
                  <c:v>0</c:v>
                </c:pt>
                <c:pt idx="1936">
                  <c:v>0</c:v>
                </c:pt>
                <c:pt idx="1937">
                  <c:v>0</c:v>
                </c:pt>
                <c:pt idx="1938">
                  <c:v>0</c:v>
                </c:pt>
                <c:pt idx="1939">
                  <c:v>0</c:v>
                </c:pt>
                <c:pt idx="1940">
                  <c:v>0</c:v>
                </c:pt>
                <c:pt idx="1941">
                  <c:v>0</c:v>
                </c:pt>
                <c:pt idx="1942">
                  <c:v>0</c:v>
                </c:pt>
                <c:pt idx="1943">
                  <c:v>0</c:v>
                </c:pt>
                <c:pt idx="1944">
                  <c:v>0</c:v>
                </c:pt>
                <c:pt idx="1945">
                  <c:v>0</c:v>
                </c:pt>
                <c:pt idx="1946">
                  <c:v>0</c:v>
                </c:pt>
                <c:pt idx="1947">
                  <c:v>0</c:v>
                </c:pt>
                <c:pt idx="1948">
                  <c:v>0</c:v>
                </c:pt>
                <c:pt idx="1949">
                  <c:v>0</c:v>
                </c:pt>
                <c:pt idx="1950">
                  <c:v>0</c:v>
                </c:pt>
                <c:pt idx="1951">
                  <c:v>0</c:v>
                </c:pt>
                <c:pt idx="1952">
                  <c:v>0</c:v>
                </c:pt>
                <c:pt idx="1953">
                  <c:v>0</c:v>
                </c:pt>
                <c:pt idx="1954">
                  <c:v>0</c:v>
                </c:pt>
                <c:pt idx="1955">
                  <c:v>0</c:v>
                </c:pt>
                <c:pt idx="1956">
                  <c:v>0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0</c:v>
                </c:pt>
                <c:pt idx="1961">
                  <c:v>0</c:v>
                </c:pt>
                <c:pt idx="1962">
                  <c:v>0</c:v>
                </c:pt>
                <c:pt idx="1963">
                  <c:v>0</c:v>
                </c:pt>
                <c:pt idx="1964">
                  <c:v>0</c:v>
                </c:pt>
                <c:pt idx="1965">
                  <c:v>0</c:v>
                </c:pt>
                <c:pt idx="1966">
                  <c:v>0</c:v>
                </c:pt>
                <c:pt idx="1967">
                  <c:v>0</c:v>
                </c:pt>
                <c:pt idx="1968">
                  <c:v>0</c:v>
                </c:pt>
                <c:pt idx="1969">
                  <c:v>0</c:v>
                </c:pt>
                <c:pt idx="1970">
                  <c:v>0</c:v>
                </c:pt>
                <c:pt idx="1971">
                  <c:v>0</c:v>
                </c:pt>
                <c:pt idx="1972">
                  <c:v>0</c:v>
                </c:pt>
                <c:pt idx="1973">
                  <c:v>0</c:v>
                </c:pt>
                <c:pt idx="1974">
                  <c:v>0</c:v>
                </c:pt>
                <c:pt idx="1975">
                  <c:v>0</c:v>
                </c:pt>
                <c:pt idx="1976">
                  <c:v>0</c:v>
                </c:pt>
                <c:pt idx="1977">
                  <c:v>0</c:v>
                </c:pt>
                <c:pt idx="1978">
                  <c:v>0</c:v>
                </c:pt>
                <c:pt idx="1979">
                  <c:v>0</c:v>
                </c:pt>
                <c:pt idx="1980">
                  <c:v>0</c:v>
                </c:pt>
                <c:pt idx="1981">
                  <c:v>0</c:v>
                </c:pt>
                <c:pt idx="1982">
                  <c:v>0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0</c:v>
                </c:pt>
                <c:pt idx="1987">
                  <c:v>0</c:v>
                </c:pt>
                <c:pt idx="1988">
                  <c:v>0</c:v>
                </c:pt>
                <c:pt idx="1989">
                  <c:v>0</c:v>
                </c:pt>
                <c:pt idx="1990">
                  <c:v>0</c:v>
                </c:pt>
                <c:pt idx="1991">
                  <c:v>0</c:v>
                </c:pt>
                <c:pt idx="1992">
                  <c:v>0</c:v>
                </c:pt>
                <c:pt idx="1993">
                  <c:v>0</c:v>
                </c:pt>
                <c:pt idx="1994">
                  <c:v>0</c:v>
                </c:pt>
                <c:pt idx="1995">
                  <c:v>0</c:v>
                </c:pt>
                <c:pt idx="1996">
                  <c:v>0</c:v>
                </c:pt>
                <c:pt idx="1997">
                  <c:v>0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0</c:v>
                </c:pt>
                <c:pt idx="2009">
                  <c:v>0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</c:v>
                </c:pt>
                <c:pt idx="2015">
                  <c:v>0</c:v>
                </c:pt>
                <c:pt idx="2016">
                  <c:v>0</c:v>
                </c:pt>
                <c:pt idx="2017">
                  <c:v>0</c:v>
                </c:pt>
                <c:pt idx="2018">
                  <c:v>0</c:v>
                </c:pt>
                <c:pt idx="2019">
                  <c:v>0</c:v>
                </c:pt>
                <c:pt idx="2020">
                  <c:v>0</c:v>
                </c:pt>
                <c:pt idx="2021">
                  <c:v>0</c:v>
                </c:pt>
                <c:pt idx="2022">
                  <c:v>0</c:v>
                </c:pt>
                <c:pt idx="2023">
                  <c:v>0</c:v>
                </c:pt>
                <c:pt idx="2024">
                  <c:v>0</c:v>
                </c:pt>
                <c:pt idx="2025">
                  <c:v>0</c:v>
                </c:pt>
                <c:pt idx="2026">
                  <c:v>0</c:v>
                </c:pt>
                <c:pt idx="2027">
                  <c:v>0</c:v>
                </c:pt>
                <c:pt idx="2028">
                  <c:v>0</c:v>
                </c:pt>
                <c:pt idx="2029">
                  <c:v>0</c:v>
                </c:pt>
                <c:pt idx="2030">
                  <c:v>0</c:v>
                </c:pt>
                <c:pt idx="2031">
                  <c:v>0</c:v>
                </c:pt>
                <c:pt idx="2032">
                  <c:v>0</c:v>
                </c:pt>
                <c:pt idx="2033">
                  <c:v>0</c:v>
                </c:pt>
                <c:pt idx="2034">
                  <c:v>0</c:v>
                </c:pt>
                <c:pt idx="2035">
                  <c:v>0</c:v>
                </c:pt>
                <c:pt idx="2036">
                  <c:v>0</c:v>
                </c:pt>
                <c:pt idx="2037">
                  <c:v>0</c:v>
                </c:pt>
                <c:pt idx="2038">
                  <c:v>0</c:v>
                </c:pt>
                <c:pt idx="2039">
                  <c:v>0</c:v>
                </c:pt>
                <c:pt idx="2040">
                  <c:v>0</c:v>
                </c:pt>
                <c:pt idx="2041">
                  <c:v>0</c:v>
                </c:pt>
                <c:pt idx="2042">
                  <c:v>0</c:v>
                </c:pt>
                <c:pt idx="2043">
                  <c:v>0</c:v>
                </c:pt>
                <c:pt idx="2044">
                  <c:v>0</c:v>
                </c:pt>
                <c:pt idx="2045">
                  <c:v>0</c:v>
                </c:pt>
                <c:pt idx="2046">
                  <c:v>0</c:v>
                </c:pt>
                <c:pt idx="2047">
                  <c:v>0</c:v>
                </c:pt>
                <c:pt idx="2048">
                  <c:v>0</c:v>
                </c:pt>
                <c:pt idx="2049">
                  <c:v>0</c:v>
                </c:pt>
                <c:pt idx="2050">
                  <c:v>0</c:v>
                </c:pt>
                <c:pt idx="2051">
                  <c:v>0</c:v>
                </c:pt>
                <c:pt idx="2052">
                  <c:v>0</c:v>
                </c:pt>
                <c:pt idx="2053">
                  <c:v>0</c:v>
                </c:pt>
                <c:pt idx="2054">
                  <c:v>0</c:v>
                </c:pt>
                <c:pt idx="2055">
                  <c:v>0</c:v>
                </c:pt>
                <c:pt idx="2056">
                  <c:v>0</c:v>
                </c:pt>
                <c:pt idx="2057">
                  <c:v>0</c:v>
                </c:pt>
                <c:pt idx="2058">
                  <c:v>0</c:v>
                </c:pt>
                <c:pt idx="2059">
                  <c:v>0</c:v>
                </c:pt>
                <c:pt idx="2060">
                  <c:v>0</c:v>
                </c:pt>
                <c:pt idx="2061">
                  <c:v>0</c:v>
                </c:pt>
                <c:pt idx="2062">
                  <c:v>0</c:v>
                </c:pt>
                <c:pt idx="2063">
                  <c:v>0</c:v>
                </c:pt>
                <c:pt idx="2064">
                  <c:v>0</c:v>
                </c:pt>
                <c:pt idx="2065">
                  <c:v>0</c:v>
                </c:pt>
                <c:pt idx="2066">
                  <c:v>0</c:v>
                </c:pt>
                <c:pt idx="2067">
                  <c:v>0</c:v>
                </c:pt>
                <c:pt idx="2068">
                  <c:v>0</c:v>
                </c:pt>
                <c:pt idx="2069">
                  <c:v>0</c:v>
                </c:pt>
                <c:pt idx="2070">
                  <c:v>0</c:v>
                </c:pt>
                <c:pt idx="2071">
                  <c:v>0</c:v>
                </c:pt>
                <c:pt idx="2072">
                  <c:v>0</c:v>
                </c:pt>
                <c:pt idx="2073">
                  <c:v>0</c:v>
                </c:pt>
                <c:pt idx="2074">
                  <c:v>0</c:v>
                </c:pt>
                <c:pt idx="2075">
                  <c:v>0</c:v>
                </c:pt>
                <c:pt idx="2076">
                  <c:v>0</c:v>
                </c:pt>
                <c:pt idx="2077">
                  <c:v>0</c:v>
                </c:pt>
                <c:pt idx="2078">
                  <c:v>0</c:v>
                </c:pt>
                <c:pt idx="2079">
                  <c:v>0</c:v>
                </c:pt>
                <c:pt idx="2080">
                  <c:v>0</c:v>
                </c:pt>
                <c:pt idx="2081">
                  <c:v>0</c:v>
                </c:pt>
                <c:pt idx="2082">
                  <c:v>0</c:v>
                </c:pt>
                <c:pt idx="2083">
                  <c:v>0</c:v>
                </c:pt>
                <c:pt idx="2084">
                  <c:v>0</c:v>
                </c:pt>
                <c:pt idx="2085">
                  <c:v>0</c:v>
                </c:pt>
                <c:pt idx="2086">
                  <c:v>0</c:v>
                </c:pt>
                <c:pt idx="2087">
                  <c:v>0</c:v>
                </c:pt>
                <c:pt idx="2088">
                  <c:v>0</c:v>
                </c:pt>
                <c:pt idx="2089">
                  <c:v>0</c:v>
                </c:pt>
                <c:pt idx="2090">
                  <c:v>0</c:v>
                </c:pt>
                <c:pt idx="2091">
                  <c:v>0</c:v>
                </c:pt>
                <c:pt idx="2092">
                  <c:v>0</c:v>
                </c:pt>
                <c:pt idx="2093">
                  <c:v>0</c:v>
                </c:pt>
                <c:pt idx="2094">
                  <c:v>0</c:v>
                </c:pt>
                <c:pt idx="2095">
                  <c:v>0</c:v>
                </c:pt>
                <c:pt idx="2096">
                  <c:v>0</c:v>
                </c:pt>
                <c:pt idx="2097">
                  <c:v>0</c:v>
                </c:pt>
                <c:pt idx="2098">
                  <c:v>0</c:v>
                </c:pt>
                <c:pt idx="2099">
                  <c:v>0</c:v>
                </c:pt>
                <c:pt idx="2100">
                  <c:v>0</c:v>
                </c:pt>
                <c:pt idx="2101">
                  <c:v>0</c:v>
                </c:pt>
                <c:pt idx="2102">
                  <c:v>0</c:v>
                </c:pt>
                <c:pt idx="2103">
                  <c:v>0</c:v>
                </c:pt>
                <c:pt idx="2104">
                  <c:v>0</c:v>
                </c:pt>
                <c:pt idx="2105">
                  <c:v>0</c:v>
                </c:pt>
                <c:pt idx="2106">
                  <c:v>0</c:v>
                </c:pt>
                <c:pt idx="2107">
                  <c:v>0</c:v>
                </c:pt>
                <c:pt idx="2108">
                  <c:v>0</c:v>
                </c:pt>
                <c:pt idx="2109">
                  <c:v>0</c:v>
                </c:pt>
                <c:pt idx="2110">
                  <c:v>0</c:v>
                </c:pt>
                <c:pt idx="2111">
                  <c:v>0</c:v>
                </c:pt>
                <c:pt idx="2112">
                  <c:v>0</c:v>
                </c:pt>
                <c:pt idx="2113">
                  <c:v>0</c:v>
                </c:pt>
                <c:pt idx="2114">
                  <c:v>0</c:v>
                </c:pt>
                <c:pt idx="2115">
                  <c:v>0</c:v>
                </c:pt>
                <c:pt idx="2116">
                  <c:v>0</c:v>
                </c:pt>
                <c:pt idx="2117">
                  <c:v>0</c:v>
                </c:pt>
                <c:pt idx="2118">
                  <c:v>0</c:v>
                </c:pt>
                <c:pt idx="2119">
                  <c:v>0</c:v>
                </c:pt>
                <c:pt idx="2120">
                  <c:v>0</c:v>
                </c:pt>
                <c:pt idx="2121">
                  <c:v>0</c:v>
                </c:pt>
                <c:pt idx="2122">
                  <c:v>0</c:v>
                </c:pt>
                <c:pt idx="2123">
                  <c:v>0</c:v>
                </c:pt>
                <c:pt idx="2124">
                  <c:v>0</c:v>
                </c:pt>
                <c:pt idx="2125">
                  <c:v>0</c:v>
                </c:pt>
                <c:pt idx="2126">
                  <c:v>0</c:v>
                </c:pt>
                <c:pt idx="2127">
                  <c:v>0</c:v>
                </c:pt>
                <c:pt idx="2128">
                  <c:v>0</c:v>
                </c:pt>
                <c:pt idx="2129">
                  <c:v>0</c:v>
                </c:pt>
                <c:pt idx="2130">
                  <c:v>0</c:v>
                </c:pt>
                <c:pt idx="2131">
                  <c:v>0</c:v>
                </c:pt>
                <c:pt idx="2132">
                  <c:v>0</c:v>
                </c:pt>
                <c:pt idx="2133">
                  <c:v>0</c:v>
                </c:pt>
                <c:pt idx="2134">
                  <c:v>0</c:v>
                </c:pt>
                <c:pt idx="2135">
                  <c:v>0</c:v>
                </c:pt>
                <c:pt idx="2136">
                  <c:v>0</c:v>
                </c:pt>
                <c:pt idx="2137">
                  <c:v>0</c:v>
                </c:pt>
                <c:pt idx="2138">
                  <c:v>0</c:v>
                </c:pt>
                <c:pt idx="2139">
                  <c:v>0</c:v>
                </c:pt>
                <c:pt idx="2140">
                  <c:v>0</c:v>
                </c:pt>
                <c:pt idx="2141">
                  <c:v>0</c:v>
                </c:pt>
                <c:pt idx="2142">
                  <c:v>0</c:v>
                </c:pt>
                <c:pt idx="2143">
                  <c:v>0</c:v>
                </c:pt>
                <c:pt idx="2144">
                  <c:v>0</c:v>
                </c:pt>
                <c:pt idx="2145">
                  <c:v>0</c:v>
                </c:pt>
                <c:pt idx="2146">
                  <c:v>0</c:v>
                </c:pt>
                <c:pt idx="2147">
                  <c:v>0</c:v>
                </c:pt>
                <c:pt idx="2148">
                  <c:v>0</c:v>
                </c:pt>
                <c:pt idx="2149">
                  <c:v>0</c:v>
                </c:pt>
                <c:pt idx="2150">
                  <c:v>0</c:v>
                </c:pt>
                <c:pt idx="2151">
                  <c:v>0</c:v>
                </c:pt>
                <c:pt idx="2152">
                  <c:v>0</c:v>
                </c:pt>
                <c:pt idx="2153">
                  <c:v>0</c:v>
                </c:pt>
                <c:pt idx="2154">
                  <c:v>0</c:v>
                </c:pt>
                <c:pt idx="2155">
                  <c:v>0</c:v>
                </c:pt>
                <c:pt idx="2156">
                  <c:v>0</c:v>
                </c:pt>
                <c:pt idx="2157">
                  <c:v>0</c:v>
                </c:pt>
                <c:pt idx="2158">
                  <c:v>0</c:v>
                </c:pt>
                <c:pt idx="2159">
                  <c:v>0</c:v>
                </c:pt>
                <c:pt idx="2160">
                  <c:v>0</c:v>
                </c:pt>
                <c:pt idx="2161">
                  <c:v>0</c:v>
                </c:pt>
                <c:pt idx="2162">
                  <c:v>0</c:v>
                </c:pt>
                <c:pt idx="2163">
                  <c:v>0</c:v>
                </c:pt>
                <c:pt idx="2164">
                  <c:v>0</c:v>
                </c:pt>
                <c:pt idx="2165">
                  <c:v>0</c:v>
                </c:pt>
                <c:pt idx="2166">
                  <c:v>0</c:v>
                </c:pt>
                <c:pt idx="2167">
                  <c:v>0</c:v>
                </c:pt>
                <c:pt idx="2168">
                  <c:v>0</c:v>
                </c:pt>
                <c:pt idx="2169">
                  <c:v>0</c:v>
                </c:pt>
                <c:pt idx="2170">
                  <c:v>0</c:v>
                </c:pt>
                <c:pt idx="2171">
                  <c:v>0</c:v>
                </c:pt>
                <c:pt idx="2172">
                  <c:v>0</c:v>
                </c:pt>
                <c:pt idx="2173">
                  <c:v>0</c:v>
                </c:pt>
                <c:pt idx="2174">
                  <c:v>0</c:v>
                </c:pt>
                <c:pt idx="2175">
                  <c:v>0</c:v>
                </c:pt>
                <c:pt idx="2176">
                  <c:v>0</c:v>
                </c:pt>
                <c:pt idx="2177">
                  <c:v>0</c:v>
                </c:pt>
                <c:pt idx="2178">
                  <c:v>0</c:v>
                </c:pt>
                <c:pt idx="2179">
                  <c:v>0</c:v>
                </c:pt>
                <c:pt idx="2180">
                  <c:v>0</c:v>
                </c:pt>
                <c:pt idx="2181">
                  <c:v>0</c:v>
                </c:pt>
                <c:pt idx="2182">
                  <c:v>0</c:v>
                </c:pt>
                <c:pt idx="2183">
                  <c:v>0</c:v>
                </c:pt>
                <c:pt idx="2184">
                  <c:v>0</c:v>
                </c:pt>
                <c:pt idx="2185">
                  <c:v>0</c:v>
                </c:pt>
                <c:pt idx="2186">
                  <c:v>0</c:v>
                </c:pt>
                <c:pt idx="2187">
                  <c:v>0</c:v>
                </c:pt>
                <c:pt idx="2188">
                  <c:v>0</c:v>
                </c:pt>
                <c:pt idx="2189">
                  <c:v>0</c:v>
                </c:pt>
                <c:pt idx="2190">
                  <c:v>0</c:v>
                </c:pt>
                <c:pt idx="2191">
                  <c:v>0</c:v>
                </c:pt>
                <c:pt idx="2192">
                  <c:v>0</c:v>
                </c:pt>
                <c:pt idx="2193">
                  <c:v>0</c:v>
                </c:pt>
                <c:pt idx="2194">
                  <c:v>0</c:v>
                </c:pt>
                <c:pt idx="2195">
                  <c:v>0</c:v>
                </c:pt>
                <c:pt idx="2196">
                  <c:v>0</c:v>
                </c:pt>
                <c:pt idx="2197">
                  <c:v>0</c:v>
                </c:pt>
                <c:pt idx="2198">
                  <c:v>0</c:v>
                </c:pt>
                <c:pt idx="2199">
                  <c:v>0</c:v>
                </c:pt>
                <c:pt idx="2200">
                  <c:v>0</c:v>
                </c:pt>
                <c:pt idx="2201">
                  <c:v>0</c:v>
                </c:pt>
                <c:pt idx="2202">
                  <c:v>0</c:v>
                </c:pt>
                <c:pt idx="2203">
                  <c:v>0</c:v>
                </c:pt>
                <c:pt idx="2204">
                  <c:v>0</c:v>
                </c:pt>
                <c:pt idx="2205">
                  <c:v>0</c:v>
                </c:pt>
                <c:pt idx="2206">
                  <c:v>0</c:v>
                </c:pt>
                <c:pt idx="2207">
                  <c:v>0</c:v>
                </c:pt>
                <c:pt idx="2208">
                  <c:v>0</c:v>
                </c:pt>
                <c:pt idx="2209">
                  <c:v>0</c:v>
                </c:pt>
                <c:pt idx="2210">
                  <c:v>0</c:v>
                </c:pt>
                <c:pt idx="2211">
                  <c:v>0</c:v>
                </c:pt>
                <c:pt idx="2212">
                  <c:v>0</c:v>
                </c:pt>
                <c:pt idx="2213">
                  <c:v>0</c:v>
                </c:pt>
                <c:pt idx="2214">
                  <c:v>0</c:v>
                </c:pt>
                <c:pt idx="2215">
                  <c:v>0</c:v>
                </c:pt>
                <c:pt idx="2216">
                  <c:v>0</c:v>
                </c:pt>
                <c:pt idx="2217">
                  <c:v>0</c:v>
                </c:pt>
                <c:pt idx="2218">
                  <c:v>0</c:v>
                </c:pt>
                <c:pt idx="2219">
                  <c:v>0</c:v>
                </c:pt>
                <c:pt idx="2220">
                  <c:v>0</c:v>
                </c:pt>
                <c:pt idx="2221">
                  <c:v>0</c:v>
                </c:pt>
                <c:pt idx="2222">
                  <c:v>0</c:v>
                </c:pt>
                <c:pt idx="2223">
                  <c:v>0</c:v>
                </c:pt>
                <c:pt idx="2224">
                  <c:v>0</c:v>
                </c:pt>
                <c:pt idx="2225">
                  <c:v>0</c:v>
                </c:pt>
                <c:pt idx="2226">
                  <c:v>0</c:v>
                </c:pt>
                <c:pt idx="2227">
                  <c:v>0</c:v>
                </c:pt>
                <c:pt idx="2228">
                  <c:v>0</c:v>
                </c:pt>
                <c:pt idx="2229">
                  <c:v>0</c:v>
                </c:pt>
                <c:pt idx="2230">
                  <c:v>0</c:v>
                </c:pt>
                <c:pt idx="2231">
                  <c:v>0</c:v>
                </c:pt>
                <c:pt idx="2232">
                  <c:v>0</c:v>
                </c:pt>
                <c:pt idx="2233">
                  <c:v>0</c:v>
                </c:pt>
                <c:pt idx="2234">
                  <c:v>0</c:v>
                </c:pt>
                <c:pt idx="2235">
                  <c:v>0</c:v>
                </c:pt>
                <c:pt idx="2236">
                  <c:v>0</c:v>
                </c:pt>
                <c:pt idx="2237">
                  <c:v>0</c:v>
                </c:pt>
                <c:pt idx="2238">
                  <c:v>0</c:v>
                </c:pt>
                <c:pt idx="2239">
                  <c:v>0</c:v>
                </c:pt>
                <c:pt idx="2240">
                  <c:v>0</c:v>
                </c:pt>
                <c:pt idx="2241">
                  <c:v>0</c:v>
                </c:pt>
                <c:pt idx="2242">
                  <c:v>0</c:v>
                </c:pt>
                <c:pt idx="2243">
                  <c:v>0</c:v>
                </c:pt>
                <c:pt idx="2244">
                  <c:v>0</c:v>
                </c:pt>
                <c:pt idx="2245">
                  <c:v>0</c:v>
                </c:pt>
                <c:pt idx="2246">
                  <c:v>0</c:v>
                </c:pt>
                <c:pt idx="2247">
                  <c:v>0</c:v>
                </c:pt>
                <c:pt idx="2248">
                  <c:v>0</c:v>
                </c:pt>
                <c:pt idx="2249">
                  <c:v>0</c:v>
                </c:pt>
                <c:pt idx="2250">
                  <c:v>0</c:v>
                </c:pt>
                <c:pt idx="2251">
                  <c:v>0</c:v>
                </c:pt>
                <c:pt idx="2252">
                  <c:v>0</c:v>
                </c:pt>
                <c:pt idx="2253">
                  <c:v>0</c:v>
                </c:pt>
                <c:pt idx="2254">
                  <c:v>0</c:v>
                </c:pt>
                <c:pt idx="2255">
                  <c:v>0</c:v>
                </c:pt>
                <c:pt idx="2256">
                  <c:v>0</c:v>
                </c:pt>
                <c:pt idx="2257">
                  <c:v>0</c:v>
                </c:pt>
                <c:pt idx="2258">
                  <c:v>0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0</c:v>
                </c:pt>
                <c:pt idx="2315">
                  <c:v>0</c:v>
                </c:pt>
                <c:pt idx="2316">
                  <c:v>0</c:v>
                </c:pt>
                <c:pt idx="2317">
                  <c:v>0</c:v>
                </c:pt>
                <c:pt idx="2318">
                  <c:v>0</c:v>
                </c:pt>
                <c:pt idx="2319">
                  <c:v>0</c:v>
                </c:pt>
                <c:pt idx="2320">
                  <c:v>0</c:v>
                </c:pt>
                <c:pt idx="2321">
                  <c:v>0</c:v>
                </c:pt>
                <c:pt idx="2322">
                  <c:v>0</c:v>
                </c:pt>
                <c:pt idx="2323">
                  <c:v>0</c:v>
                </c:pt>
                <c:pt idx="2324">
                  <c:v>0</c:v>
                </c:pt>
                <c:pt idx="2325">
                  <c:v>0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0</c:v>
                </c:pt>
                <c:pt idx="2337">
                  <c:v>0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</c:numCache>
              <c:extLst xmlns:c15="http://schemas.microsoft.com/office/drawing/2012/chart"/>
            </c:numRef>
          </c:xVal>
          <c:yVal>
            <c:numRef>
              <c:f>'ASEP 1'!$Y$5:$Y$3933</c:f>
              <c:numCache>
                <c:formatCode>0.0</c:formatCode>
                <c:ptCount val="3929"/>
                <c:pt idx="0">
                  <c:v>69.5</c:v>
                </c:pt>
                <c:pt idx="1">
                  <c:v>68.900000000000006</c:v>
                </c:pt>
                <c:pt idx="2">
                  <c:v>72.5</c:v>
                </c:pt>
                <c:pt idx="3">
                  <c:v>77.3</c:v>
                </c:pt>
                <c:pt idx="4">
                  <c:v>79.3</c:v>
                </c:pt>
                <c:pt idx="5">
                  <c:v>82.5</c:v>
                </c:pt>
                <c:pt idx="6">
                  <c:v>70.3</c:v>
                </c:pt>
                <c:pt idx="7">
                  <c:v>69.5</c:v>
                </c:pt>
                <c:pt idx="8">
                  <c:v>72</c:v>
                </c:pt>
                <c:pt idx="9">
                  <c:v>77.599999999999994</c:v>
                </c:pt>
                <c:pt idx="10">
                  <c:v>67.5</c:v>
                </c:pt>
                <c:pt idx="11">
                  <c:v>67.3</c:v>
                </c:pt>
                <c:pt idx="12">
                  <c:v>67.400000000000006</c:v>
                </c:pt>
                <c:pt idx="13">
                  <c:v>66.900000000000006</c:v>
                </c:pt>
                <c:pt idx="14">
                  <c:v>66.3</c:v>
                </c:pt>
                <c:pt idx="15">
                  <c:v>66.2</c:v>
                </c:pt>
                <c:pt idx="16">
                  <c:v>67.3</c:v>
                </c:pt>
                <c:pt idx="17">
                  <c:v>70.599999999999994</c:v>
                </c:pt>
                <c:pt idx="18">
                  <c:v>73.2</c:v>
                </c:pt>
                <c:pt idx="19">
                  <c:v>76.7</c:v>
                </c:pt>
                <c:pt idx="20">
                  <c:v>67.7</c:v>
                </c:pt>
                <c:pt idx="21">
                  <c:v>67</c:v>
                </c:pt>
                <c:pt idx="22">
                  <c:v>67.400000000000006</c:v>
                </c:pt>
                <c:pt idx="23">
                  <c:v>67.599999999999994</c:v>
                </c:pt>
                <c:pt idx="24">
                  <c:v>69</c:v>
                </c:pt>
                <c:pt idx="25">
                  <c:v>68.900000000000006</c:v>
                </c:pt>
                <c:pt idx="26">
                  <c:v>69.2</c:v>
                </c:pt>
                <c:pt idx="27">
                  <c:v>69.5</c:v>
                </c:pt>
                <c:pt idx="28">
                  <c:v>71.3</c:v>
                </c:pt>
                <c:pt idx="29">
                  <c:v>77.099999999999994</c:v>
                </c:pt>
                <c:pt idx="30">
                  <c:v>80.7</c:v>
                </c:pt>
                <c:pt idx="31">
                  <c:v>71.900000000000006</c:v>
                </c:pt>
                <c:pt idx="32">
                  <c:v>72.400000000000006</c:v>
                </c:pt>
                <c:pt idx="33">
                  <c:v>79.3</c:v>
                </c:pt>
                <c:pt idx="34">
                  <c:v>80.8</c:v>
                </c:pt>
                <c:pt idx="35">
                  <c:v>81.8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1.7</c:v>
                </c:pt>
                <c:pt idx="101">
                  <c:v>60.4</c:v>
                </c:pt>
                <c:pt idx="102">
                  <c:v>62.6</c:v>
                </c:pt>
                <c:pt idx="103">
                  <c:v>64.5</c:v>
                </c:pt>
                <c:pt idx="104">
                  <c:v>66.5</c:v>
                </c:pt>
                <c:pt idx="105">
                  <c:v>68.900000000000006</c:v>
                </c:pt>
                <c:pt idx="106">
                  <c:v>70.099999999999994</c:v>
                </c:pt>
                <c:pt idx="107">
                  <c:v>69</c:v>
                </c:pt>
                <c:pt idx="108">
                  <c:v>71.099999999999994</c:v>
                </c:pt>
                <c:pt idx="109">
                  <c:v>65</c:v>
                </c:pt>
                <c:pt idx="110">
                  <c:v>66.099999999999994</c:v>
                </c:pt>
                <c:pt idx="111">
                  <c:v>67.900000000000006</c:v>
                </c:pt>
                <c:pt idx="112">
                  <c:v>62.6</c:v>
                </c:pt>
                <c:pt idx="113">
                  <c:v>57.9</c:v>
                </c:pt>
                <c:pt idx="114">
                  <c:v>53.5</c:v>
                </c:pt>
                <c:pt idx="115">
                  <c:v>49.3</c:v>
                </c:pt>
                <c:pt idx="116">
                  <c:v>65.400000000000006</c:v>
                </c:pt>
                <c:pt idx="117">
                  <c:v>67.099999999999994</c:v>
                </c:pt>
                <c:pt idx="118">
                  <c:v>69.3</c:v>
                </c:pt>
                <c:pt idx="119">
                  <c:v>70.900000000000006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61.4</c:v>
                </c:pt>
                <c:pt idx="301">
                  <c:v>62.2</c:v>
                </c:pt>
                <c:pt idx="302">
                  <c:v>62.7</c:v>
                </c:pt>
                <c:pt idx="303">
                  <c:v>64.7</c:v>
                </c:pt>
                <c:pt idx="304">
                  <c:v>66.900000000000006</c:v>
                </c:pt>
                <c:pt idx="305">
                  <c:v>68.400000000000006</c:v>
                </c:pt>
                <c:pt idx="306">
                  <c:v>70.2</c:v>
                </c:pt>
                <c:pt idx="307">
                  <c:v>70.5</c:v>
                </c:pt>
                <c:pt idx="308">
                  <c:v>70.8</c:v>
                </c:pt>
                <c:pt idx="309">
                  <c:v>65.5</c:v>
                </c:pt>
                <c:pt idx="310">
                  <c:v>67</c:v>
                </c:pt>
                <c:pt idx="311">
                  <c:v>68.8</c:v>
                </c:pt>
                <c:pt idx="312">
                  <c:v>69</c:v>
                </c:pt>
                <c:pt idx="313">
                  <c:v>71.5</c:v>
                </c:pt>
                <c:pt idx="314">
                  <c:v>72.2</c:v>
                </c:pt>
                <c:pt idx="315">
                  <c:v>73.8</c:v>
                </c:pt>
                <c:pt idx="316">
                  <c:v>53.7</c:v>
                </c:pt>
                <c:pt idx="317">
                  <c:v>58.2</c:v>
                </c:pt>
                <c:pt idx="318">
                  <c:v>61.7</c:v>
                </c:pt>
                <c:pt idx="319">
                  <c:v>59</c:v>
                </c:pt>
                <c:pt idx="320">
                  <c:v>64.3</c:v>
                </c:pt>
                <c:pt idx="321">
                  <c:v>67.900000000000006</c:v>
                </c:pt>
                <c:pt idx="322">
                  <c:v>69.8</c:v>
                </c:pt>
                <c:pt idx="323">
                  <c:v>71.599999999999994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64.8</c:v>
                </c:pt>
                <c:pt idx="401">
                  <c:v>65.7</c:v>
                </c:pt>
                <c:pt idx="402">
                  <c:v>66.5</c:v>
                </c:pt>
                <c:pt idx="403">
                  <c:v>68.599999999999994</c:v>
                </c:pt>
                <c:pt idx="404">
                  <c:v>69.8</c:v>
                </c:pt>
                <c:pt idx="405">
                  <c:v>70.599999999999994</c:v>
                </c:pt>
                <c:pt idx="406">
                  <c:v>72.599999999999994</c:v>
                </c:pt>
                <c:pt idx="407">
                  <c:v>73.8</c:v>
                </c:pt>
                <c:pt idx="408">
                  <c:v>69.7</c:v>
                </c:pt>
                <c:pt idx="409">
                  <c:v>72.099999999999994</c:v>
                </c:pt>
                <c:pt idx="410">
                  <c:v>72</c:v>
                </c:pt>
                <c:pt idx="411">
                  <c:v>73.599999999999994</c:v>
                </c:pt>
                <c:pt idx="412">
                  <c:v>74.7</c:v>
                </c:pt>
                <c:pt idx="413">
                  <c:v>77.400000000000006</c:v>
                </c:pt>
                <c:pt idx="414">
                  <c:v>77.8</c:v>
                </c:pt>
                <c:pt idx="415">
                  <c:v>72.099999999999994</c:v>
                </c:pt>
                <c:pt idx="416">
                  <c:v>69.900000000000006</c:v>
                </c:pt>
                <c:pt idx="417">
                  <c:v>67.900000000000006</c:v>
                </c:pt>
                <c:pt idx="418">
                  <c:v>65.400000000000006</c:v>
                </c:pt>
                <c:pt idx="419">
                  <c:v>62.6</c:v>
                </c:pt>
                <c:pt idx="420">
                  <c:v>61</c:v>
                </c:pt>
                <c:pt idx="421">
                  <c:v>61.1</c:v>
                </c:pt>
                <c:pt idx="422">
                  <c:v>59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72.3</c:v>
                </c:pt>
                <c:pt idx="501">
                  <c:v>72.900000000000006</c:v>
                </c:pt>
                <c:pt idx="502">
                  <c:v>72.7</c:v>
                </c:pt>
                <c:pt idx="503">
                  <c:v>73.7</c:v>
                </c:pt>
                <c:pt idx="504">
                  <c:v>72.900000000000006</c:v>
                </c:pt>
                <c:pt idx="505">
                  <c:v>73.3</c:v>
                </c:pt>
                <c:pt idx="506">
                  <c:v>71.8</c:v>
                </c:pt>
                <c:pt idx="507">
                  <c:v>72.5</c:v>
                </c:pt>
                <c:pt idx="508">
                  <c:v>71.099999999999994</c:v>
                </c:pt>
                <c:pt idx="509">
                  <c:v>70.599999999999994</c:v>
                </c:pt>
                <c:pt idx="510">
                  <c:v>71.2</c:v>
                </c:pt>
                <c:pt idx="511">
                  <c:v>71</c:v>
                </c:pt>
                <c:pt idx="512">
                  <c:v>71.7</c:v>
                </c:pt>
                <c:pt idx="513">
                  <c:v>71.8</c:v>
                </c:pt>
                <c:pt idx="514">
                  <c:v>72.2</c:v>
                </c:pt>
                <c:pt idx="515">
                  <c:v>71.8</c:v>
                </c:pt>
                <c:pt idx="516">
                  <c:v>73.400000000000006</c:v>
                </c:pt>
                <c:pt idx="517">
                  <c:v>74</c:v>
                </c:pt>
                <c:pt idx="518">
                  <c:v>69</c:v>
                </c:pt>
                <c:pt idx="519">
                  <c:v>67</c:v>
                </c:pt>
                <c:pt idx="520">
                  <c:v>69.599999999999994</c:v>
                </c:pt>
                <c:pt idx="521">
                  <c:v>68.400000000000006</c:v>
                </c:pt>
                <c:pt idx="522">
                  <c:v>68.400000000000006</c:v>
                </c:pt>
                <c:pt idx="523">
                  <c:v>69.599999999999994</c:v>
                </c:pt>
                <c:pt idx="524">
                  <c:v>67.599999999999994</c:v>
                </c:pt>
                <c:pt idx="525">
                  <c:v>70.2</c:v>
                </c:pt>
                <c:pt idx="526">
                  <c:v>69.8</c:v>
                </c:pt>
                <c:pt idx="527">
                  <c:v>70</c:v>
                </c:pt>
                <c:pt idx="528">
                  <c:v>70.599999999999994</c:v>
                </c:pt>
                <c:pt idx="529">
                  <c:v>70</c:v>
                </c:pt>
                <c:pt idx="530">
                  <c:v>70.8</c:v>
                </c:pt>
                <c:pt idx="531">
                  <c:v>72.5</c:v>
                </c:pt>
                <c:pt idx="532">
                  <c:v>73.599999999999994</c:v>
                </c:pt>
                <c:pt idx="533">
                  <c:v>70.7</c:v>
                </c:pt>
                <c:pt idx="534">
                  <c:v>68.8</c:v>
                </c:pt>
                <c:pt idx="535">
                  <c:v>66.099999999999994</c:v>
                </c:pt>
                <c:pt idx="536">
                  <c:v>64.7</c:v>
                </c:pt>
                <c:pt idx="537">
                  <c:v>63.7</c:v>
                </c:pt>
                <c:pt idx="538">
                  <c:v>61</c:v>
                </c:pt>
                <c:pt idx="539">
                  <c:v>59.8</c:v>
                </c:pt>
                <c:pt idx="540">
                  <c:v>59.1</c:v>
                </c:pt>
                <c:pt idx="541">
                  <c:v>57.8</c:v>
                </c:pt>
                <c:pt idx="542">
                  <c:v>56.5</c:v>
                </c:pt>
                <c:pt idx="543">
                  <c:v>54</c:v>
                </c:pt>
                <c:pt idx="544">
                  <c:v>50.2</c:v>
                </c:pt>
                <c:pt idx="545">
                  <c:v>64.2</c:v>
                </c:pt>
                <c:pt idx="546">
                  <c:v>57</c:v>
                </c:pt>
                <c:pt idx="547">
                  <c:v>65.599999999999994</c:v>
                </c:pt>
                <c:pt idx="548">
                  <c:v>57.5</c:v>
                </c:pt>
                <c:pt idx="549">
                  <c:v>64.3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60.1</c:v>
                </c:pt>
                <c:pt idx="601">
                  <c:v>59.3</c:v>
                </c:pt>
                <c:pt idx="602">
                  <c:v>63</c:v>
                </c:pt>
                <c:pt idx="603">
                  <c:v>64.599999999999994</c:v>
                </c:pt>
                <c:pt idx="604">
                  <c:v>67.2</c:v>
                </c:pt>
                <c:pt idx="605">
                  <c:v>68.8</c:v>
                </c:pt>
                <c:pt idx="606">
                  <c:v>71</c:v>
                </c:pt>
                <c:pt idx="607">
                  <c:v>73.3</c:v>
                </c:pt>
                <c:pt idx="608">
                  <c:v>72.099999999999994</c:v>
                </c:pt>
                <c:pt idx="609">
                  <c:v>69.099999999999994</c:v>
                </c:pt>
                <c:pt idx="610">
                  <c:v>70</c:v>
                </c:pt>
                <c:pt idx="611">
                  <c:v>69.3</c:v>
                </c:pt>
                <c:pt idx="612">
                  <c:v>70.3</c:v>
                </c:pt>
                <c:pt idx="613">
                  <c:v>70.8</c:v>
                </c:pt>
                <c:pt idx="614">
                  <c:v>71.599999999999994</c:v>
                </c:pt>
                <c:pt idx="615">
                  <c:v>66.5</c:v>
                </c:pt>
                <c:pt idx="616">
                  <c:v>67.900000000000006</c:v>
                </c:pt>
                <c:pt idx="617">
                  <c:v>67.2</c:v>
                </c:pt>
                <c:pt idx="618">
                  <c:v>67.2</c:v>
                </c:pt>
                <c:pt idx="619">
                  <c:v>65.7</c:v>
                </c:pt>
                <c:pt idx="620">
                  <c:v>67.599999999999994</c:v>
                </c:pt>
                <c:pt idx="621">
                  <c:v>67</c:v>
                </c:pt>
                <c:pt idx="622">
                  <c:v>68</c:v>
                </c:pt>
                <c:pt idx="623">
                  <c:v>69.2</c:v>
                </c:pt>
                <c:pt idx="624">
                  <c:v>71.3</c:v>
                </c:pt>
                <c:pt idx="625">
                  <c:v>71.8</c:v>
                </c:pt>
                <c:pt idx="626">
                  <c:v>74.2</c:v>
                </c:pt>
                <c:pt idx="627">
                  <c:v>70</c:v>
                </c:pt>
                <c:pt idx="628">
                  <c:v>70.099999999999994</c:v>
                </c:pt>
                <c:pt idx="629">
                  <c:v>69.900000000000006</c:v>
                </c:pt>
                <c:pt idx="630">
                  <c:v>69.3</c:v>
                </c:pt>
                <c:pt idx="631">
                  <c:v>71.2</c:v>
                </c:pt>
                <c:pt idx="632">
                  <c:v>67.599999999999994</c:v>
                </c:pt>
                <c:pt idx="633">
                  <c:v>66.7</c:v>
                </c:pt>
                <c:pt idx="634">
                  <c:v>66.099999999999994</c:v>
                </c:pt>
                <c:pt idx="635">
                  <c:v>67</c:v>
                </c:pt>
                <c:pt idx="636">
                  <c:v>68.400000000000006</c:v>
                </c:pt>
                <c:pt idx="637">
                  <c:v>61.9</c:v>
                </c:pt>
                <c:pt idx="638">
                  <c:v>62.5</c:v>
                </c:pt>
                <c:pt idx="639">
                  <c:v>60.6</c:v>
                </c:pt>
                <c:pt idx="640">
                  <c:v>61.3</c:v>
                </c:pt>
                <c:pt idx="641">
                  <c:v>64</c:v>
                </c:pt>
                <c:pt idx="642">
                  <c:v>66.8</c:v>
                </c:pt>
                <c:pt idx="643">
                  <c:v>63.3</c:v>
                </c:pt>
                <c:pt idx="644">
                  <c:v>60.5</c:v>
                </c:pt>
                <c:pt idx="645">
                  <c:v>54.6</c:v>
                </c:pt>
                <c:pt idx="646">
                  <c:v>58.2</c:v>
                </c:pt>
                <c:pt idx="647">
                  <c:v>59.3</c:v>
                </c:pt>
                <c:pt idx="648">
                  <c:v>47.1</c:v>
                </c:pt>
                <c:pt idx="649">
                  <c:v>55</c:v>
                </c:pt>
                <c:pt idx="650">
                  <c:v>57.2</c:v>
                </c:pt>
                <c:pt idx="651">
                  <c:v>60.8</c:v>
                </c:pt>
                <c:pt idx="652">
                  <c:v>63.4</c:v>
                </c:pt>
                <c:pt idx="653">
                  <c:v>63.9</c:v>
                </c:pt>
                <c:pt idx="654">
                  <c:v>65.8</c:v>
                </c:pt>
                <c:pt idx="655">
                  <c:v>66.5</c:v>
                </c:pt>
                <c:pt idx="656">
                  <c:v>63.9</c:v>
                </c:pt>
                <c:pt idx="657">
                  <c:v>64.900000000000006</c:v>
                </c:pt>
                <c:pt idx="658">
                  <c:v>62.8</c:v>
                </c:pt>
                <c:pt idx="659">
                  <c:v>62.2</c:v>
                </c:pt>
                <c:pt idx="660">
                  <c:v>56.5</c:v>
                </c:pt>
                <c:pt idx="661">
                  <c:v>61.7</c:v>
                </c:pt>
                <c:pt idx="662">
                  <c:v>58.4</c:v>
                </c:pt>
                <c:pt idx="663">
                  <c:v>59.5</c:v>
                </c:pt>
                <c:pt idx="664">
                  <c:v>60.3</c:v>
                </c:pt>
                <c:pt idx="665">
                  <c:v>60.2</c:v>
                </c:pt>
                <c:pt idx="666">
                  <c:v>59.7</c:v>
                </c:pt>
                <c:pt idx="667">
                  <c:v>59.1</c:v>
                </c:pt>
                <c:pt idx="668">
                  <c:v>58.1</c:v>
                </c:pt>
                <c:pt idx="669">
                  <c:v>61.6</c:v>
                </c:pt>
                <c:pt idx="670">
                  <c:v>59.4</c:v>
                </c:pt>
                <c:pt idx="671">
                  <c:v>61.5</c:v>
                </c:pt>
                <c:pt idx="672">
                  <c:v>61.7</c:v>
                </c:pt>
                <c:pt idx="673">
                  <c:v>60.8</c:v>
                </c:pt>
                <c:pt idx="674">
                  <c:v>63.3</c:v>
                </c:pt>
                <c:pt idx="675">
                  <c:v>62.7</c:v>
                </c:pt>
                <c:pt idx="676">
                  <c:v>64.8</c:v>
                </c:pt>
                <c:pt idx="677">
                  <c:v>64.7</c:v>
                </c:pt>
                <c:pt idx="678">
                  <c:v>49.3</c:v>
                </c:pt>
                <c:pt idx="679">
                  <c:v>55.9</c:v>
                </c:pt>
                <c:pt idx="680">
                  <c:v>57.6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64.900000000000006</c:v>
                </c:pt>
                <c:pt idx="701">
                  <c:v>65.5</c:v>
                </c:pt>
                <c:pt idx="702">
                  <c:v>66.900000000000006</c:v>
                </c:pt>
                <c:pt idx="703">
                  <c:v>68.2</c:v>
                </c:pt>
                <c:pt idx="704">
                  <c:v>69.3</c:v>
                </c:pt>
                <c:pt idx="705">
                  <c:v>69.5</c:v>
                </c:pt>
                <c:pt idx="706">
                  <c:v>71.8</c:v>
                </c:pt>
                <c:pt idx="707">
                  <c:v>72.8</c:v>
                </c:pt>
                <c:pt idx="708">
                  <c:v>59.6</c:v>
                </c:pt>
                <c:pt idx="709">
                  <c:v>61.1</c:v>
                </c:pt>
                <c:pt idx="710">
                  <c:v>63.5</c:v>
                </c:pt>
                <c:pt idx="711">
                  <c:v>66.099999999999994</c:v>
                </c:pt>
                <c:pt idx="712">
                  <c:v>67.7</c:v>
                </c:pt>
                <c:pt idx="713">
                  <c:v>69.5</c:v>
                </c:pt>
                <c:pt idx="714">
                  <c:v>71</c:v>
                </c:pt>
                <c:pt idx="715">
                  <c:v>69.3</c:v>
                </c:pt>
                <c:pt idx="716">
                  <c:v>71.2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74.3</c:v>
                </c:pt>
                <c:pt idx="801">
                  <c:v>72.099999999999994</c:v>
                </c:pt>
                <c:pt idx="802">
                  <c:v>73.5</c:v>
                </c:pt>
                <c:pt idx="803">
                  <c:v>73.8</c:v>
                </c:pt>
                <c:pt idx="804">
                  <c:v>73.099999999999994</c:v>
                </c:pt>
                <c:pt idx="805">
                  <c:v>74.400000000000006</c:v>
                </c:pt>
                <c:pt idx="806">
                  <c:v>75.7</c:v>
                </c:pt>
                <c:pt idx="807">
                  <c:v>75.7</c:v>
                </c:pt>
                <c:pt idx="808">
                  <c:v>74</c:v>
                </c:pt>
                <c:pt idx="809">
                  <c:v>73.400000000000006</c:v>
                </c:pt>
                <c:pt idx="810">
                  <c:v>71.400000000000006</c:v>
                </c:pt>
                <c:pt idx="811">
                  <c:v>71.900000000000006</c:v>
                </c:pt>
                <c:pt idx="812">
                  <c:v>71.400000000000006</c:v>
                </c:pt>
                <c:pt idx="813">
                  <c:v>72.400000000000006</c:v>
                </c:pt>
                <c:pt idx="814">
                  <c:v>73.7</c:v>
                </c:pt>
                <c:pt idx="815">
                  <c:v>74</c:v>
                </c:pt>
                <c:pt idx="816">
                  <c:v>0</c:v>
                </c:pt>
                <c:pt idx="817">
                  <c:v>0</c:v>
                </c:pt>
                <c:pt idx="818">
                  <c:v>0</c:v>
                </c:pt>
                <c:pt idx="819">
                  <c:v>0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</c:v>
                </c:pt>
                <c:pt idx="824">
                  <c:v>0</c:v>
                </c:pt>
                <c:pt idx="825">
                  <c:v>0</c:v>
                </c:pt>
                <c:pt idx="826">
                  <c:v>0</c:v>
                </c:pt>
                <c:pt idx="827">
                  <c:v>0</c:v>
                </c:pt>
                <c:pt idx="828">
                  <c:v>0</c:v>
                </c:pt>
                <c:pt idx="829">
                  <c:v>0</c:v>
                </c:pt>
                <c:pt idx="830">
                  <c:v>0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0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0</c:v>
                </c:pt>
                <c:pt idx="846">
                  <c:v>0</c:v>
                </c:pt>
                <c:pt idx="847">
                  <c:v>0</c:v>
                </c:pt>
                <c:pt idx="848">
                  <c:v>0</c:v>
                </c:pt>
                <c:pt idx="849">
                  <c:v>0</c:v>
                </c:pt>
                <c:pt idx="850">
                  <c:v>0</c:v>
                </c:pt>
                <c:pt idx="851">
                  <c:v>0</c:v>
                </c:pt>
                <c:pt idx="852">
                  <c:v>0</c:v>
                </c:pt>
                <c:pt idx="853">
                  <c:v>0</c:v>
                </c:pt>
                <c:pt idx="854">
                  <c:v>0</c:v>
                </c:pt>
                <c:pt idx="855">
                  <c:v>0</c:v>
                </c:pt>
                <c:pt idx="856">
                  <c:v>0</c:v>
                </c:pt>
                <c:pt idx="857">
                  <c:v>0</c:v>
                </c:pt>
                <c:pt idx="858">
                  <c:v>0</c:v>
                </c:pt>
                <c:pt idx="859">
                  <c:v>0</c:v>
                </c:pt>
                <c:pt idx="860">
                  <c:v>0</c:v>
                </c:pt>
                <c:pt idx="861">
                  <c:v>0</c:v>
                </c:pt>
                <c:pt idx="862">
                  <c:v>0</c:v>
                </c:pt>
                <c:pt idx="863">
                  <c:v>0</c:v>
                </c:pt>
                <c:pt idx="864">
                  <c:v>0</c:v>
                </c:pt>
                <c:pt idx="865">
                  <c:v>0</c:v>
                </c:pt>
                <c:pt idx="866">
                  <c:v>0</c:v>
                </c:pt>
                <c:pt idx="867">
                  <c:v>0</c:v>
                </c:pt>
                <c:pt idx="868">
                  <c:v>0</c:v>
                </c:pt>
                <c:pt idx="869">
                  <c:v>0</c:v>
                </c:pt>
                <c:pt idx="870">
                  <c:v>0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0</c:v>
                </c:pt>
                <c:pt idx="875">
                  <c:v>0</c:v>
                </c:pt>
                <c:pt idx="876">
                  <c:v>0</c:v>
                </c:pt>
                <c:pt idx="877">
                  <c:v>0</c:v>
                </c:pt>
                <c:pt idx="878">
                  <c:v>0</c:v>
                </c:pt>
                <c:pt idx="879">
                  <c:v>0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0</c:v>
                </c:pt>
                <c:pt idx="884">
                  <c:v>0</c:v>
                </c:pt>
                <c:pt idx="885">
                  <c:v>0</c:v>
                </c:pt>
                <c:pt idx="886">
                  <c:v>0</c:v>
                </c:pt>
                <c:pt idx="887">
                  <c:v>0</c:v>
                </c:pt>
                <c:pt idx="888">
                  <c:v>0</c:v>
                </c:pt>
                <c:pt idx="889">
                  <c:v>0</c:v>
                </c:pt>
                <c:pt idx="890">
                  <c:v>0</c:v>
                </c:pt>
                <c:pt idx="891">
                  <c:v>0</c:v>
                </c:pt>
                <c:pt idx="892">
                  <c:v>0</c:v>
                </c:pt>
                <c:pt idx="893">
                  <c:v>0</c:v>
                </c:pt>
                <c:pt idx="894">
                  <c:v>0</c:v>
                </c:pt>
                <c:pt idx="895">
                  <c:v>0</c:v>
                </c:pt>
                <c:pt idx="896">
                  <c:v>0</c:v>
                </c:pt>
                <c:pt idx="897">
                  <c:v>0</c:v>
                </c:pt>
                <c:pt idx="898">
                  <c:v>0</c:v>
                </c:pt>
                <c:pt idx="899">
                  <c:v>0</c:v>
                </c:pt>
                <c:pt idx="900">
                  <c:v>62</c:v>
                </c:pt>
                <c:pt idx="901">
                  <c:v>63</c:v>
                </c:pt>
                <c:pt idx="902">
                  <c:v>64.2</c:v>
                </c:pt>
                <c:pt idx="903">
                  <c:v>65.900000000000006</c:v>
                </c:pt>
                <c:pt idx="904">
                  <c:v>68.7</c:v>
                </c:pt>
                <c:pt idx="905">
                  <c:v>70.2</c:v>
                </c:pt>
                <c:pt idx="906">
                  <c:v>72.5</c:v>
                </c:pt>
                <c:pt idx="907">
                  <c:v>74.2</c:v>
                </c:pt>
                <c:pt idx="908">
                  <c:v>76.099999999999994</c:v>
                </c:pt>
                <c:pt idx="909">
                  <c:v>77.900000000000006</c:v>
                </c:pt>
                <c:pt idx="910">
                  <c:v>61.7</c:v>
                </c:pt>
                <c:pt idx="911">
                  <c:v>63.1</c:v>
                </c:pt>
                <c:pt idx="912">
                  <c:v>63</c:v>
                </c:pt>
                <c:pt idx="913">
                  <c:v>65.5</c:v>
                </c:pt>
                <c:pt idx="914">
                  <c:v>67.2</c:v>
                </c:pt>
                <c:pt idx="915">
                  <c:v>69.599999999999994</c:v>
                </c:pt>
                <c:pt idx="916">
                  <c:v>71.5</c:v>
                </c:pt>
                <c:pt idx="917">
                  <c:v>74.2</c:v>
                </c:pt>
                <c:pt idx="918">
                  <c:v>75.7</c:v>
                </c:pt>
                <c:pt idx="919">
                  <c:v>77.5</c:v>
                </c:pt>
                <c:pt idx="920">
                  <c:v>70.099999999999994</c:v>
                </c:pt>
                <c:pt idx="921">
                  <c:v>70.599999999999994</c:v>
                </c:pt>
                <c:pt idx="922">
                  <c:v>70.7</c:v>
                </c:pt>
                <c:pt idx="923">
                  <c:v>72.2</c:v>
                </c:pt>
                <c:pt idx="924">
                  <c:v>73.3</c:v>
                </c:pt>
                <c:pt idx="925">
                  <c:v>75.599999999999994</c:v>
                </c:pt>
                <c:pt idx="926">
                  <c:v>76.3</c:v>
                </c:pt>
                <c:pt idx="927">
                  <c:v>77.7</c:v>
                </c:pt>
                <c:pt idx="928">
                  <c:v>77.2</c:v>
                </c:pt>
                <c:pt idx="929">
                  <c:v>79.2</c:v>
                </c:pt>
                <c:pt idx="930">
                  <c:v>76.900000000000006</c:v>
                </c:pt>
                <c:pt idx="931">
                  <c:v>76.599999999999994</c:v>
                </c:pt>
                <c:pt idx="932">
                  <c:v>78.400000000000006</c:v>
                </c:pt>
                <c:pt idx="933">
                  <c:v>67.8</c:v>
                </c:pt>
                <c:pt idx="934">
                  <c:v>68</c:v>
                </c:pt>
                <c:pt idx="935">
                  <c:v>67.8</c:v>
                </c:pt>
                <c:pt idx="936">
                  <c:v>67.8</c:v>
                </c:pt>
                <c:pt idx="937">
                  <c:v>66.599999999999994</c:v>
                </c:pt>
                <c:pt idx="938">
                  <c:v>67.099999999999994</c:v>
                </c:pt>
                <c:pt idx="939">
                  <c:v>66.8</c:v>
                </c:pt>
                <c:pt idx="940">
                  <c:v>66.8</c:v>
                </c:pt>
                <c:pt idx="941">
                  <c:v>55.8</c:v>
                </c:pt>
                <c:pt idx="942">
                  <c:v>58.3</c:v>
                </c:pt>
                <c:pt idx="943">
                  <c:v>62</c:v>
                </c:pt>
                <c:pt idx="944">
                  <c:v>62</c:v>
                </c:pt>
                <c:pt idx="945">
                  <c:v>63.9</c:v>
                </c:pt>
                <c:pt idx="946">
                  <c:v>66.900000000000006</c:v>
                </c:pt>
                <c:pt idx="947">
                  <c:v>69.099999999999994</c:v>
                </c:pt>
                <c:pt idx="948">
                  <c:v>71.599999999999994</c:v>
                </c:pt>
                <c:pt idx="949">
                  <c:v>73.7</c:v>
                </c:pt>
                <c:pt idx="950">
                  <c:v>75.599999999999994</c:v>
                </c:pt>
                <c:pt idx="951">
                  <c:v>77.599999999999994</c:v>
                </c:pt>
                <c:pt idx="952">
                  <c:v>63.3</c:v>
                </c:pt>
                <c:pt idx="953">
                  <c:v>70.2</c:v>
                </c:pt>
                <c:pt idx="954">
                  <c:v>72.7</c:v>
                </c:pt>
                <c:pt idx="955">
                  <c:v>67.400000000000006</c:v>
                </c:pt>
                <c:pt idx="956">
                  <c:v>78.599999999999994</c:v>
                </c:pt>
                <c:pt idx="957">
                  <c:v>77.8</c:v>
                </c:pt>
                <c:pt idx="958">
                  <c:v>77.900000000000006</c:v>
                </c:pt>
                <c:pt idx="959">
                  <c:v>78.099999999999994</c:v>
                </c:pt>
                <c:pt idx="960">
                  <c:v>77.8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0</c:v>
                </c:pt>
                <c:pt idx="993">
                  <c:v>0</c:v>
                </c:pt>
                <c:pt idx="994">
                  <c:v>0</c:v>
                </c:pt>
                <c:pt idx="995">
                  <c:v>0</c:v>
                </c:pt>
                <c:pt idx="996">
                  <c:v>0</c:v>
                </c:pt>
                <c:pt idx="997">
                  <c:v>0</c:v>
                </c:pt>
                <c:pt idx="998">
                  <c:v>0</c:v>
                </c:pt>
                <c:pt idx="999">
                  <c:v>0</c:v>
                </c:pt>
                <c:pt idx="1000">
                  <c:v>64.5</c:v>
                </c:pt>
                <c:pt idx="1001">
                  <c:v>73.2</c:v>
                </c:pt>
                <c:pt idx="1002">
                  <c:v>60</c:v>
                </c:pt>
                <c:pt idx="1003">
                  <c:v>60.7</c:v>
                </c:pt>
                <c:pt idx="1004">
                  <c:v>63.8</c:v>
                </c:pt>
                <c:pt idx="1005">
                  <c:v>66</c:v>
                </c:pt>
                <c:pt idx="1006">
                  <c:v>69.400000000000006</c:v>
                </c:pt>
                <c:pt idx="1007">
                  <c:v>71.400000000000006</c:v>
                </c:pt>
                <c:pt idx="1008">
                  <c:v>73.099999999999994</c:v>
                </c:pt>
                <c:pt idx="1009">
                  <c:v>74.400000000000006</c:v>
                </c:pt>
                <c:pt idx="1010">
                  <c:v>67.8</c:v>
                </c:pt>
                <c:pt idx="1011">
                  <c:v>67.3</c:v>
                </c:pt>
                <c:pt idx="1012">
                  <c:v>68.099999999999994</c:v>
                </c:pt>
                <c:pt idx="1013">
                  <c:v>63.1</c:v>
                </c:pt>
                <c:pt idx="1014">
                  <c:v>61.2</c:v>
                </c:pt>
                <c:pt idx="1015">
                  <c:v>59.3</c:v>
                </c:pt>
                <c:pt idx="1016">
                  <c:v>58.4</c:v>
                </c:pt>
                <c:pt idx="1017">
                  <c:v>51.2</c:v>
                </c:pt>
                <c:pt idx="1018">
                  <c:v>73.3</c:v>
                </c:pt>
                <c:pt idx="1019">
                  <c:v>57.9</c:v>
                </c:pt>
                <c:pt idx="1020">
                  <c:v>57.2</c:v>
                </c:pt>
                <c:pt idx="1021">
                  <c:v>60.7</c:v>
                </c:pt>
                <c:pt idx="1022">
                  <c:v>64.099999999999994</c:v>
                </c:pt>
                <c:pt idx="1023">
                  <c:v>66.7</c:v>
                </c:pt>
                <c:pt idx="1024">
                  <c:v>70.3</c:v>
                </c:pt>
                <c:pt idx="1025">
                  <c:v>71.7</c:v>
                </c:pt>
                <c:pt idx="1026">
                  <c:v>69.599999999999994</c:v>
                </c:pt>
                <c:pt idx="1027">
                  <c:v>69.599999999999994</c:v>
                </c:pt>
                <c:pt idx="1028">
                  <c:v>70.900000000000006</c:v>
                </c:pt>
                <c:pt idx="1029">
                  <c:v>71.7</c:v>
                </c:pt>
                <c:pt idx="1030">
                  <c:v>73.7</c:v>
                </c:pt>
                <c:pt idx="1031">
                  <c:v>74.2</c:v>
                </c:pt>
                <c:pt idx="1032">
                  <c:v>75.599999999999994</c:v>
                </c:pt>
                <c:pt idx="1033">
                  <c:v>75.400000000000006</c:v>
                </c:pt>
                <c:pt idx="1034">
                  <c:v>74.400000000000006</c:v>
                </c:pt>
                <c:pt idx="1035">
                  <c:v>64.900000000000006</c:v>
                </c:pt>
                <c:pt idx="1036">
                  <c:v>66</c:v>
                </c:pt>
                <c:pt idx="1037">
                  <c:v>68.599999999999994</c:v>
                </c:pt>
                <c:pt idx="1038">
                  <c:v>70.3</c:v>
                </c:pt>
                <c:pt idx="1039">
                  <c:v>72.5</c:v>
                </c:pt>
                <c:pt idx="1040">
                  <c:v>74.3</c:v>
                </c:pt>
                <c:pt idx="1041">
                  <c:v>75.3</c:v>
                </c:pt>
                <c:pt idx="1042">
                  <c:v>74.599999999999994</c:v>
                </c:pt>
                <c:pt idx="1043">
                  <c:v>61.2</c:v>
                </c:pt>
                <c:pt idx="1044">
                  <c:v>63.6</c:v>
                </c:pt>
                <c:pt idx="1045">
                  <c:v>65.5</c:v>
                </c:pt>
                <c:pt idx="1046">
                  <c:v>68.5</c:v>
                </c:pt>
                <c:pt idx="1047">
                  <c:v>70.900000000000006</c:v>
                </c:pt>
                <c:pt idx="1048">
                  <c:v>73.400000000000006</c:v>
                </c:pt>
                <c:pt idx="1049">
                  <c:v>73.900000000000006</c:v>
                </c:pt>
                <c:pt idx="1050">
                  <c:v>59.7</c:v>
                </c:pt>
                <c:pt idx="1051">
                  <c:v>59.4</c:v>
                </c:pt>
                <c:pt idx="1052">
                  <c:v>63</c:v>
                </c:pt>
                <c:pt idx="1053">
                  <c:v>65.7</c:v>
                </c:pt>
                <c:pt idx="1054">
                  <c:v>69.400000000000006</c:v>
                </c:pt>
                <c:pt idx="1055">
                  <c:v>72.2</c:v>
                </c:pt>
                <c:pt idx="1056">
                  <c:v>73.2</c:v>
                </c:pt>
                <c:pt idx="1057">
                  <c:v>74.400000000000006</c:v>
                </c:pt>
                <c:pt idx="1058">
                  <c:v>67.900000000000006</c:v>
                </c:pt>
                <c:pt idx="1059">
                  <c:v>63.2</c:v>
                </c:pt>
                <c:pt idx="1060">
                  <c:v>63.2</c:v>
                </c:pt>
                <c:pt idx="1061">
                  <c:v>61.8</c:v>
                </c:pt>
                <c:pt idx="1062">
                  <c:v>58.8</c:v>
                </c:pt>
                <c:pt idx="1063">
                  <c:v>59.3</c:v>
                </c:pt>
                <c:pt idx="1064">
                  <c:v>57.8</c:v>
                </c:pt>
                <c:pt idx="1065">
                  <c:v>50.1</c:v>
                </c:pt>
                <c:pt idx="1066">
                  <c:v>59.7</c:v>
                </c:pt>
                <c:pt idx="1067">
                  <c:v>57</c:v>
                </c:pt>
                <c:pt idx="1068">
                  <c:v>61.7</c:v>
                </c:pt>
                <c:pt idx="1069">
                  <c:v>65</c:v>
                </c:pt>
                <c:pt idx="1070">
                  <c:v>68.599999999999994</c:v>
                </c:pt>
                <c:pt idx="1071">
                  <c:v>71.8</c:v>
                </c:pt>
                <c:pt idx="1072">
                  <c:v>74.400000000000006</c:v>
                </c:pt>
                <c:pt idx="1073">
                  <c:v>72.599999999999994</c:v>
                </c:pt>
                <c:pt idx="1074">
                  <c:v>68.900000000000006</c:v>
                </c:pt>
                <c:pt idx="1075">
                  <c:v>74</c:v>
                </c:pt>
                <c:pt idx="1076">
                  <c:v>75.3</c:v>
                </c:pt>
                <c:pt idx="1077">
                  <c:v>63.6</c:v>
                </c:pt>
                <c:pt idx="1078">
                  <c:v>65.3</c:v>
                </c:pt>
                <c:pt idx="1079">
                  <c:v>65.7</c:v>
                </c:pt>
                <c:pt idx="1080">
                  <c:v>68.900000000000006</c:v>
                </c:pt>
                <c:pt idx="1081">
                  <c:v>70.7</c:v>
                </c:pt>
                <c:pt idx="1082">
                  <c:v>73.8</c:v>
                </c:pt>
                <c:pt idx="1083">
                  <c:v>74.099999999999994</c:v>
                </c:pt>
                <c:pt idx="1084">
                  <c:v>59.6</c:v>
                </c:pt>
                <c:pt idx="1085">
                  <c:v>61.2</c:v>
                </c:pt>
                <c:pt idx="1086">
                  <c:v>63.1</c:v>
                </c:pt>
                <c:pt idx="1087">
                  <c:v>66.7</c:v>
                </c:pt>
                <c:pt idx="1088">
                  <c:v>70</c:v>
                </c:pt>
                <c:pt idx="1089">
                  <c:v>72.099999999999994</c:v>
                </c:pt>
                <c:pt idx="1090">
                  <c:v>73.3</c:v>
                </c:pt>
                <c:pt idx="1091">
                  <c:v>74.599999999999994</c:v>
                </c:pt>
                <c:pt idx="1092">
                  <c:v>68.099999999999994</c:v>
                </c:pt>
                <c:pt idx="1093">
                  <c:v>68.599999999999994</c:v>
                </c:pt>
                <c:pt idx="1094">
                  <c:v>66.900000000000006</c:v>
                </c:pt>
                <c:pt idx="1095">
                  <c:v>62</c:v>
                </c:pt>
                <c:pt idx="1096">
                  <c:v>60.6</c:v>
                </c:pt>
                <c:pt idx="1097">
                  <c:v>0</c:v>
                </c:pt>
                <c:pt idx="1098">
                  <c:v>0</c:v>
                </c:pt>
                <c:pt idx="1099">
                  <c:v>0</c:v>
                </c:pt>
                <c:pt idx="1100">
                  <c:v>71</c:v>
                </c:pt>
                <c:pt idx="1101">
                  <c:v>71.2</c:v>
                </c:pt>
                <c:pt idx="1102">
                  <c:v>69.5</c:v>
                </c:pt>
                <c:pt idx="1103">
                  <c:v>71.099999999999994</c:v>
                </c:pt>
                <c:pt idx="1104">
                  <c:v>70.3</c:v>
                </c:pt>
                <c:pt idx="1105">
                  <c:v>70.400000000000006</c:v>
                </c:pt>
                <c:pt idx="1106">
                  <c:v>71.099999999999994</c:v>
                </c:pt>
                <c:pt idx="1107">
                  <c:v>72.5</c:v>
                </c:pt>
                <c:pt idx="1108">
                  <c:v>73.599999999999994</c:v>
                </c:pt>
                <c:pt idx="1109">
                  <c:v>74.7</c:v>
                </c:pt>
                <c:pt idx="1110">
                  <c:v>61.5</c:v>
                </c:pt>
                <c:pt idx="1111">
                  <c:v>67</c:v>
                </c:pt>
                <c:pt idx="1112">
                  <c:v>66</c:v>
                </c:pt>
                <c:pt idx="1113">
                  <c:v>61.7</c:v>
                </c:pt>
                <c:pt idx="1114">
                  <c:v>61.8</c:v>
                </c:pt>
                <c:pt idx="1115">
                  <c:v>67.3</c:v>
                </c:pt>
                <c:pt idx="1116">
                  <c:v>64.5</c:v>
                </c:pt>
                <c:pt idx="1117">
                  <c:v>61.6</c:v>
                </c:pt>
                <c:pt idx="1118">
                  <c:v>63.7</c:v>
                </c:pt>
                <c:pt idx="1119">
                  <c:v>63.4</c:v>
                </c:pt>
                <c:pt idx="1120">
                  <c:v>65.5</c:v>
                </c:pt>
                <c:pt idx="1121">
                  <c:v>64.900000000000006</c:v>
                </c:pt>
                <c:pt idx="1122">
                  <c:v>68.900000000000006</c:v>
                </c:pt>
                <c:pt idx="1123">
                  <c:v>66.900000000000006</c:v>
                </c:pt>
                <c:pt idx="1124">
                  <c:v>68.400000000000006</c:v>
                </c:pt>
                <c:pt idx="1125">
                  <c:v>67.7</c:v>
                </c:pt>
                <c:pt idx="1126">
                  <c:v>69.400000000000006</c:v>
                </c:pt>
                <c:pt idx="1127">
                  <c:v>69</c:v>
                </c:pt>
                <c:pt idx="1128">
                  <c:v>70.400000000000006</c:v>
                </c:pt>
                <c:pt idx="1129">
                  <c:v>74.599999999999994</c:v>
                </c:pt>
                <c:pt idx="1130">
                  <c:v>59</c:v>
                </c:pt>
                <c:pt idx="1131">
                  <c:v>59.5</c:v>
                </c:pt>
                <c:pt idx="1132">
                  <c:v>60.2</c:v>
                </c:pt>
                <c:pt idx="1133">
                  <c:v>62.2</c:v>
                </c:pt>
                <c:pt idx="1134">
                  <c:v>64.5</c:v>
                </c:pt>
                <c:pt idx="1135">
                  <c:v>66.900000000000006</c:v>
                </c:pt>
                <c:pt idx="1136">
                  <c:v>68.7</c:v>
                </c:pt>
                <c:pt idx="1137">
                  <c:v>70.599999999999994</c:v>
                </c:pt>
                <c:pt idx="1138">
                  <c:v>72.2</c:v>
                </c:pt>
                <c:pt idx="1139">
                  <c:v>73.7</c:v>
                </c:pt>
                <c:pt idx="1140">
                  <c:v>0</c:v>
                </c:pt>
                <c:pt idx="1141">
                  <c:v>0</c:v>
                </c:pt>
                <c:pt idx="1142">
                  <c:v>0</c:v>
                </c:pt>
                <c:pt idx="1143">
                  <c:v>0</c:v>
                </c:pt>
                <c:pt idx="1144">
                  <c:v>0</c:v>
                </c:pt>
                <c:pt idx="1145">
                  <c:v>0</c:v>
                </c:pt>
                <c:pt idx="1146">
                  <c:v>0</c:v>
                </c:pt>
                <c:pt idx="1147">
                  <c:v>0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0</c:v>
                </c:pt>
                <c:pt idx="1165">
                  <c:v>0</c:v>
                </c:pt>
                <c:pt idx="1166">
                  <c:v>0</c:v>
                </c:pt>
                <c:pt idx="1167">
                  <c:v>0</c:v>
                </c:pt>
                <c:pt idx="1168">
                  <c:v>0</c:v>
                </c:pt>
                <c:pt idx="1169">
                  <c:v>0</c:v>
                </c:pt>
                <c:pt idx="1170">
                  <c:v>0</c:v>
                </c:pt>
                <c:pt idx="1171">
                  <c:v>0</c:v>
                </c:pt>
                <c:pt idx="1172">
                  <c:v>0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0</c:v>
                </c:pt>
                <c:pt idx="1177">
                  <c:v>0</c:v>
                </c:pt>
                <c:pt idx="1178">
                  <c:v>0</c:v>
                </c:pt>
                <c:pt idx="1179">
                  <c:v>0</c:v>
                </c:pt>
                <c:pt idx="1180">
                  <c:v>0</c:v>
                </c:pt>
                <c:pt idx="1181">
                  <c:v>0</c:v>
                </c:pt>
                <c:pt idx="1182">
                  <c:v>0</c:v>
                </c:pt>
                <c:pt idx="1183">
                  <c:v>0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0</c:v>
                </c:pt>
                <c:pt idx="1189">
                  <c:v>0</c:v>
                </c:pt>
                <c:pt idx="1190">
                  <c:v>0</c:v>
                </c:pt>
                <c:pt idx="1191">
                  <c:v>0</c:v>
                </c:pt>
                <c:pt idx="1192">
                  <c:v>0</c:v>
                </c:pt>
                <c:pt idx="1193">
                  <c:v>0</c:v>
                </c:pt>
                <c:pt idx="1194">
                  <c:v>0</c:v>
                </c:pt>
                <c:pt idx="1195">
                  <c:v>0</c:v>
                </c:pt>
                <c:pt idx="1196">
                  <c:v>0</c:v>
                </c:pt>
                <c:pt idx="1197">
                  <c:v>0</c:v>
                </c:pt>
                <c:pt idx="1198">
                  <c:v>0</c:v>
                </c:pt>
                <c:pt idx="1199">
                  <c:v>0</c:v>
                </c:pt>
                <c:pt idx="1200">
                  <c:v>0</c:v>
                </c:pt>
                <c:pt idx="1201">
                  <c:v>0</c:v>
                </c:pt>
                <c:pt idx="1202">
                  <c:v>0</c:v>
                </c:pt>
                <c:pt idx="1203">
                  <c:v>0</c:v>
                </c:pt>
                <c:pt idx="1204">
                  <c:v>0</c:v>
                </c:pt>
                <c:pt idx="1205">
                  <c:v>0</c:v>
                </c:pt>
                <c:pt idx="1206">
                  <c:v>0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0</c:v>
                </c:pt>
                <c:pt idx="1228">
                  <c:v>0</c:v>
                </c:pt>
                <c:pt idx="1229">
                  <c:v>0</c:v>
                </c:pt>
                <c:pt idx="1230">
                  <c:v>0</c:v>
                </c:pt>
                <c:pt idx="1231">
                  <c:v>0</c:v>
                </c:pt>
                <c:pt idx="1232">
                  <c:v>0</c:v>
                </c:pt>
                <c:pt idx="1233">
                  <c:v>0</c:v>
                </c:pt>
                <c:pt idx="1234">
                  <c:v>0</c:v>
                </c:pt>
                <c:pt idx="1235">
                  <c:v>0</c:v>
                </c:pt>
                <c:pt idx="1236">
                  <c:v>0</c:v>
                </c:pt>
                <c:pt idx="1237">
                  <c:v>0</c:v>
                </c:pt>
                <c:pt idx="1238">
                  <c:v>0</c:v>
                </c:pt>
                <c:pt idx="1239">
                  <c:v>0</c:v>
                </c:pt>
                <c:pt idx="1240">
                  <c:v>0</c:v>
                </c:pt>
                <c:pt idx="1241">
                  <c:v>0</c:v>
                </c:pt>
                <c:pt idx="1242">
                  <c:v>0</c:v>
                </c:pt>
                <c:pt idx="1243">
                  <c:v>0</c:v>
                </c:pt>
                <c:pt idx="1244">
                  <c:v>0</c:v>
                </c:pt>
                <c:pt idx="1245">
                  <c:v>0</c:v>
                </c:pt>
                <c:pt idx="1246">
                  <c:v>0</c:v>
                </c:pt>
                <c:pt idx="1247">
                  <c:v>0</c:v>
                </c:pt>
                <c:pt idx="1248">
                  <c:v>0</c:v>
                </c:pt>
                <c:pt idx="1249">
                  <c:v>0</c:v>
                </c:pt>
                <c:pt idx="1250">
                  <c:v>0</c:v>
                </c:pt>
                <c:pt idx="1251">
                  <c:v>0</c:v>
                </c:pt>
                <c:pt idx="1252">
                  <c:v>0</c:v>
                </c:pt>
                <c:pt idx="1253">
                  <c:v>0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0</c:v>
                </c:pt>
                <c:pt idx="1258">
                  <c:v>0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0</c:v>
                </c:pt>
                <c:pt idx="1273">
                  <c:v>0</c:v>
                </c:pt>
                <c:pt idx="1274">
                  <c:v>0</c:v>
                </c:pt>
                <c:pt idx="1275">
                  <c:v>0</c:v>
                </c:pt>
                <c:pt idx="1276">
                  <c:v>0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0</c:v>
                </c:pt>
                <c:pt idx="1282">
                  <c:v>0</c:v>
                </c:pt>
                <c:pt idx="1283">
                  <c:v>0</c:v>
                </c:pt>
                <c:pt idx="1284">
                  <c:v>0</c:v>
                </c:pt>
                <c:pt idx="1285">
                  <c:v>0</c:v>
                </c:pt>
                <c:pt idx="1286">
                  <c:v>0</c:v>
                </c:pt>
                <c:pt idx="1287">
                  <c:v>0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  <c:pt idx="1319">
                  <c:v>0</c:v>
                </c:pt>
                <c:pt idx="1320">
                  <c:v>0</c:v>
                </c:pt>
                <c:pt idx="1321">
                  <c:v>0</c:v>
                </c:pt>
                <c:pt idx="1322">
                  <c:v>0</c:v>
                </c:pt>
                <c:pt idx="1323">
                  <c:v>0</c:v>
                </c:pt>
                <c:pt idx="1324">
                  <c:v>0</c:v>
                </c:pt>
                <c:pt idx="1325">
                  <c:v>0</c:v>
                </c:pt>
                <c:pt idx="1326">
                  <c:v>0</c:v>
                </c:pt>
                <c:pt idx="1327">
                  <c:v>0</c:v>
                </c:pt>
                <c:pt idx="1328">
                  <c:v>0</c:v>
                </c:pt>
                <c:pt idx="1329">
                  <c:v>0</c:v>
                </c:pt>
                <c:pt idx="1330">
                  <c:v>0</c:v>
                </c:pt>
                <c:pt idx="1331">
                  <c:v>0</c:v>
                </c:pt>
                <c:pt idx="1332">
                  <c:v>0</c:v>
                </c:pt>
                <c:pt idx="1333">
                  <c:v>0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0</c:v>
                </c:pt>
                <c:pt idx="1338">
                  <c:v>0</c:v>
                </c:pt>
                <c:pt idx="1339">
                  <c:v>0</c:v>
                </c:pt>
                <c:pt idx="1340">
                  <c:v>0</c:v>
                </c:pt>
                <c:pt idx="1341">
                  <c:v>0</c:v>
                </c:pt>
                <c:pt idx="1342">
                  <c:v>0</c:v>
                </c:pt>
                <c:pt idx="1343">
                  <c:v>0</c:v>
                </c:pt>
                <c:pt idx="1344">
                  <c:v>0</c:v>
                </c:pt>
                <c:pt idx="1345">
                  <c:v>0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0</c:v>
                </c:pt>
                <c:pt idx="1378">
                  <c:v>0</c:v>
                </c:pt>
                <c:pt idx="1379">
                  <c:v>0</c:v>
                </c:pt>
                <c:pt idx="1380">
                  <c:v>0</c:v>
                </c:pt>
                <c:pt idx="1381">
                  <c:v>0</c:v>
                </c:pt>
                <c:pt idx="1382">
                  <c:v>0</c:v>
                </c:pt>
                <c:pt idx="1383">
                  <c:v>0</c:v>
                </c:pt>
                <c:pt idx="1384">
                  <c:v>0</c:v>
                </c:pt>
                <c:pt idx="1385">
                  <c:v>0</c:v>
                </c:pt>
                <c:pt idx="1386">
                  <c:v>0</c:v>
                </c:pt>
                <c:pt idx="1387">
                  <c:v>0</c:v>
                </c:pt>
                <c:pt idx="1388">
                  <c:v>0</c:v>
                </c:pt>
                <c:pt idx="1389">
                  <c:v>0</c:v>
                </c:pt>
                <c:pt idx="1390">
                  <c:v>0</c:v>
                </c:pt>
                <c:pt idx="1391">
                  <c:v>0</c:v>
                </c:pt>
                <c:pt idx="1392">
                  <c:v>0</c:v>
                </c:pt>
                <c:pt idx="1393">
                  <c:v>0</c:v>
                </c:pt>
                <c:pt idx="1394">
                  <c:v>0</c:v>
                </c:pt>
                <c:pt idx="1395">
                  <c:v>0</c:v>
                </c:pt>
                <c:pt idx="1396">
                  <c:v>0</c:v>
                </c:pt>
                <c:pt idx="1397">
                  <c:v>0</c:v>
                </c:pt>
                <c:pt idx="1398">
                  <c:v>0</c:v>
                </c:pt>
                <c:pt idx="1399">
                  <c:v>0</c:v>
                </c:pt>
                <c:pt idx="1400">
                  <c:v>0</c:v>
                </c:pt>
                <c:pt idx="1401">
                  <c:v>0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0</c:v>
                </c:pt>
                <c:pt idx="1415">
                  <c:v>0</c:v>
                </c:pt>
                <c:pt idx="1416">
                  <c:v>0</c:v>
                </c:pt>
                <c:pt idx="1417">
                  <c:v>0</c:v>
                </c:pt>
                <c:pt idx="1418">
                  <c:v>0</c:v>
                </c:pt>
                <c:pt idx="1419">
                  <c:v>0</c:v>
                </c:pt>
                <c:pt idx="1420">
                  <c:v>0</c:v>
                </c:pt>
                <c:pt idx="1421">
                  <c:v>0</c:v>
                </c:pt>
                <c:pt idx="1422">
                  <c:v>0</c:v>
                </c:pt>
                <c:pt idx="1423">
                  <c:v>0</c:v>
                </c:pt>
                <c:pt idx="1424">
                  <c:v>0</c:v>
                </c:pt>
                <c:pt idx="1425">
                  <c:v>0</c:v>
                </c:pt>
                <c:pt idx="1426">
                  <c:v>0</c:v>
                </c:pt>
                <c:pt idx="1427">
                  <c:v>0</c:v>
                </c:pt>
                <c:pt idx="1428">
                  <c:v>0</c:v>
                </c:pt>
                <c:pt idx="1429">
                  <c:v>0</c:v>
                </c:pt>
                <c:pt idx="1430">
                  <c:v>0</c:v>
                </c:pt>
                <c:pt idx="1431">
                  <c:v>0</c:v>
                </c:pt>
                <c:pt idx="1432">
                  <c:v>0</c:v>
                </c:pt>
                <c:pt idx="1433">
                  <c:v>0</c:v>
                </c:pt>
                <c:pt idx="1434">
                  <c:v>0</c:v>
                </c:pt>
                <c:pt idx="1435">
                  <c:v>0</c:v>
                </c:pt>
                <c:pt idx="1436">
                  <c:v>0</c:v>
                </c:pt>
                <c:pt idx="1437">
                  <c:v>0</c:v>
                </c:pt>
                <c:pt idx="1438">
                  <c:v>0</c:v>
                </c:pt>
                <c:pt idx="1439">
                  <c:v>0</c:v>
                </c:pt>
                <c:pt idx="1440">
                  <c:v>0</c:v>
                </c:pt>
                <c:pt idx="1441">
                  <c:v>0</c:v>
                </c:pt>
                <c:pt idx="1442">
                  <c:v>0</c:v>
                </c:pt>
                <c:pt idx="1443">
                  <c:v>0</c:v>
                </c:pt>
                <c:pt idx="1444">
                  <c:v>0</c:v>
                </c:pt>
                <c:pt idx="1445">
                  <c:v>0</c:v>
                </c:pt>
                <c:pt idx="1446">
                  <c:v>0</c:v>
                </c:pt>
                <c:pt idx="1447">
                  <c:v>0</c:v>
                </c:pt>
                <c:pt idx="1448">
                  <c:v>0</c:v>
                </c:pt>
                <c:pt idx="1449">
                  <c:v>0</c:v>
                </c:pt>
                <c:pt idx="1450">
                  <c:v>0</c:v>
                </c:pt>
                <c:pt idx="1451">
                  <c:v>0</c:v>
                </c:pt>
                <c:pt idx="1452">
                  <c:v>0</c:v>
                </c:pt>
                <c:pt idx="1453">
                  <c:v>0</c:v>
                </c:pt>
                <c:pt idx="1454">
                  <c:v>0</c:v>
                </c:pt>
                <c:pt idx="1455">
                  <c:v>0</c:v>
                </c:pt>
                <c:pt idx="1456">
                  <c:v>0</c:v>
                </c:pt>
                <c:pt idx="1457">
                  <c:v>0</c:v>
                </c:pt>
                <c:pt idx="1458">
                  <c:v>0</c:v>
                </c:pt>
                <c:pt idx="1459">
                  <c:v>0</c:v>
                </c:pt>
                <c:pt idx="1460">
                  <c:v>0</c:v>
                </c:pt>
                <c:pt idx="1461">
                  <c:v>0</c:v>
                </c:pt>
                <c:pt idx="1462">
                  <c:v>0</c:v>
                </c:pt>
                <c:pt idx="1463">
                  <c:v>0</c:v>
                </c:pt>
                <c:pt idx="1464">
                  <c:v>0</c:v>
                </c:pt>
                <c:pt idx="1465">
                  <c:v>0</c:v>
                </c:pt>
                <c:pt idx="1466">
                  <c:v>0</c:v>
                </c:pt>
                <c:pt idx="1467">
                  <c:v>0</c:v>
                </c:pt>
                <c:pt idx="1468">
                  <c:v>0</c:v>
                </c:pt>
                <c:pt idx="1469">
                  <c:v>0</c:v>
                </c:pt>
                <c:pt idx="1470">
                  <c:v>0</c:v>
                </c:pt>
                <c:pt idx="1471">
                  <c:v>0</c:v>
                </c:pt>
                <c:pt idx="1472">
                  <c:v>0</c:v>
                </c:pt>
                <c:pt idx="1473">
                  <c:v>0</c:v>
                </c:pt>
                <c:pt idx="1474">
                  <c:v>0</c:v>
                </c:pt>
                <c:pt idx="1475">
                  <c:v>0</c:v>
                </c:pt>
                <c:pt idx="1476">
                  <c:v>0</c:v>
                </c:pt>
                <c:pt idx="1477">
                  <c:v>0</c:v>
                </c:pt>
                <c:pt idx="1478">
                  <c:v>0</c:v>
                </c:pt>
                <c:pt idx="1479">
                  <c:v>0</c:v>
                </c:pt>
                <c:pt idx="1480">
                  <c:v>0</c:v>
                </c:pt>
                <c:pt idx="1481">
                  <c:v>0</c:v>
                </c:pt>
                <c:pt idx="1482">
                  <c:v>0</c:v>
                </c:pt>
                <c:pt idx="1483">
                  <c:v>0</c:v>
                </c:pt>
                <c:pt idx="1484">
                  <c:v>0</c:v>
                </c:pt>
                <c:pt idx="1485">
                  <c:v>0</c:v>
                </c:pt>
                <c:pt idx="1486">
                  <c:v>0</c:v>
                </c:pt>
                <c:pt idx="1487">
                  <c:v>0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0</c:v>
                </c:pt>
                <c:pt idx="1506">
                  <c:v>0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0</c:v>
                </c:pt>
                <c:pt idx="1512">
                  <c:v>0</c:v>
                </c:pt>
                <c:pt idx="1513">
                  <c:v>0</c:v>
                </c:pt>
                <c:pt idx="1514">
                  <c:v>0</c:v>
                </c:pt>
                <c:pt idx="1515">
                  <c:v>0</c:v>
                </c:pt>
                <c:pt idx="1516">
                  <c:v>0</c:v>
                </c:pt>
                <c:pt idx="1517">
                  <c:v>0</c:v>
                </c:pt>
                <c:pt idx="1518">
                  <c:v>0</c:v>
                </c:pt>
                <c:pt idx="1519">
                  <c:v>0</c:v>
                </c:pt>
                <c:pt idx="1520">
                  <c:v>0</c:v>
                </c:pt>
                <c:pt idx="1521">
                  <c:v>0</c:v>
                </c:pt>
                <c:pt idx="1522">
                  <c:v>0</c:v>
                </c:pt>
                <c:pt idx="1523">
                  <c:v>0</c:v>
                </c:pt>
                <c:pt idx="1524">
                  <c:v>0</c:v>
                </c:pt>
                <c:pt idx="1525">
                  <c:v>0</c:v>
                </c:pt>
                <c:pt idx="1526">
                  <c:v>0</c:v>
                </c:pt>
                <c:pt idx="1527">
                  <c:v>0</c:v>
                </c:pt>
                <c:pt idx="1528">
                  <c:v>0</c:v>
                </c:pt>
                <c:pt idx="1529">
                  <c:v>0</c:v>
                </c:pt>
                <c:pt idx="1530">
                  <c:v>0</c:v>
                </c:pt>
                <c:pt idx="1531">
                  <c:v>0</c:v>
                </c:pt>
                <c:pt idx="1532">
                  <c:v>0</c:v>
                </c:pt>
                <c:pt idx="1533">
                  <c:v>0</c:v>
                </c:pt>
                <c:pt idx="1534">
                  <c:v>0</c:v>
                </c:pt>
                <c:pt idx="1535">
                  <c:v>0</c:v>
                </c:pt>
                <c:pt idx="1536">
                  <c:v>0</c:v>
                </c:pt>
                <c:pt idx="1537">
                  <c:v>0</c:v>
                </c:pt>
                <c:pt idx="1538">
                  <c:v>0</c:v>
                </c:pt>
                <c:pt idx="1539">
                  <c:v>0</c:v>
                </c:pt>
                <c:pt idx="1540">
                  <c:v>0</c:v>
                </c:pt>
                <c:pt idx="1541">
                  <c:v>0</c:v>
                </c:pt>
                <c:pt idx="1542">
                  <c:v>0</c:v>
                </c:pt>
                <c:pt idx="1543">
                  <c:v>0</c:v>
                </c:pt>
                <c:pt idx="1544">
                  <c:v>0</c:v>
                </c:pt>
                <c:pt idx="1545">
                  <c:v>0</c:v>
                </c:pt>
                <c:pt idx="1546">
                  <c:v>0</c:v>
                </c:pt>
                <c:pt idx="1547">
                  <c:v>0</c:v>
                </c:pt>
                <c:pt idx="1548">
                  <c:v>0</c:v>
                </c:pt>
                <c:pt idx="1549">
                  <c:v>0</c:v>
                </c:pt>
                <c:pt idx="1550">
                  <c:v>0</c:v>
                </c:pt>
                <c:pt idx="1551">
                  <c:v>0</c:v>
                </c:pt>
                <c:pt idx="1552">
                  <c:v>0</c:v>
                </c:pt>
                <c:pt idx="1553">
                  <c:v>0</c:v>
                </c:pt>
                <c:pt idx="1554">
                  <c:v>0</c:v>
                </c:pt>
                <c:pt idx="1555">
                  <c:v>0</c:v>
                </c:pt>
                <c:pt idx="1556">
                  <c:v>0</c:v>
                </c:pt>
                <c:pt idx="1557">
                  <c:v>0</c:v>
                </c:pt>
                <c:pt idx="1558">
                  <c:v>0</c:v>
                </c:pt>
                <c:pt idx="1559">
                  <c:v>0</c:v>
                </c:pt>
                <c:pt idx="1560">
                  <c:v>0</c:v>
                </c:pt>
                <c:pt idx="1561">
                  <c:v>0</c:v>
                </c:pt>
                <c:pt idx="1562">
                  <c:v>0</c:v>
                </c:pt>
                <c:pt idx="1563">
                  <c:v>0</c:v>
                </c:pt>
                <c:pt idx="1564">
                  <c:v>0</c:v>
                </c:pt>
                <c:pt idx="1565">
                  <c:v>0</c:v>
                </c:pt>
                <c:pt idx="1566">
                  <c:v>0</c:v>
                </c:pt>
                <c:pt idx="1567">
                  <c:v>0</c:v>
                </c:pt>
                <c:pt idx="1568">
                  <c:v>0</c:v>
                </c:pt>
                <c:pt idx="1569">
                  <c:v>0</c:v>
                </c:pt>
                <c:pt idx="1570">
                  <c:v>0</c:v>
                </c:pt>
                <c:pt idx="1571">
                  <c:v>0</c:v>
                </c:pt>
                <c:pt idx="1572">
                  <c:v>0</c:v>
                </c:pt>
                <c:pt idx="1573">
                  <c:v>0</c:v>
                </c:pt>
                <c:pt idx="1574">
                  <c:v>0</c:v>
                </c:pt>
                <c:pt idx="1575">
                  <c:v>0</c:v>
                </c:pt>
                <c:pt idx="1576">
                  <c:v>0</c:v>
                </c:pt>
                <c:pt idx="1577">
                  <c:v>0</c:v>
                </c:pt>
                <c:pt idx="1578">
                  <c:v>0</c:v>
                </c:pt>
                <c:pt idx="1579">
                  <c:v>0</c:v>
                </c:pt>
                <c:pt idx="1580">
                  <c:v>0</c:v>
                </c:pt>
                <c:pt idx="1581">
                  <c:v>0</c:v>
                </c:pt>
                <c:pt idx="1582">
                  <c:v>0</c:v>
                </c:pt>
                <c:pt idx="1583">
                  <c:v>0</c:v>
                </c:pt>
                <c:pt idx="1584">
                  <c:v>0</c:v>
                </c:pt>
                <c:pt idx="1585">
                  <c:v>0</c:v>
                </c:pt>
                <c:pt idx="1586">
                  <c:v>0</c:v>
                </c:pt>
                <c:pt idx="1587">
                  <c:v>0</c:v>
                </c:pt>
                <c:pt idx="1588">
                  <c:v>0</c:v>
                </c:pt>
                <c:pt idx="1589">
                  <c:v>0</c:v>
                </c:pt>
                <c:pt idx="1590">
                  <c:v>0</c:v>
                </c:pt>
                <c:pt idx="1591">
                  <c:v>0</c:v>
                </c:pt>
                <c:pt idx="1592">
                  <c:v>0</c:v>
                </c:pt>
                <c:pt idx="1593">
                  <c:v>0</c:v>
                </c:pt>
                <c:pt idx="1594">
                  <c:v>0</c:v>
                </c:pt>
                <c:pt idx="1595">
                  <c:v>0</c:v>
                </c:pt>
                <c:pt idx="1596">
                  <c:v>0</c:v>
                </c:pt>
                <c:pt idx="1597">
                  <c:v>0</c:v>
                </c:pt>
                <c:pt idx="1598">
                  <c:v>0</c:v>
                </c:pt>
                <c:pt idx="1599">
                  <c:v>0</c:v>
                </c:pt>
                <c:pt idx="1600">
                  <c:v>0</c:v>
                </c:pt>
                <c:pt idx="1601">
                  <c:v>0</c:v>
                </c:pt>
                <c:pt idx="1602">
                  <c:v>0</c:v>
                </c:pt>
                <c:pt idx="1603">
                  <c:v>0</c:v>
                </c:pt>
                <c:pt idx="1604">
                  <c:v>0</c:v>
                </c:pt>
                <c:pt idx="1605">
                  <c:v>0</c:v>
                </c:pt>
                <c:pt idx="1606">
                  <c:v>0</c:v>
                </c:pt>
                <c:pt idx="1607">
                  <c:v>0</c:v>
                </c:pt>
                <c:pt idx="1608">
                  <c:v>0</c:v>
                </c:pt>
                <c:pt idx="1609">
                  <c:v>0</c:v>
                </c:pt>
                <c:pt idx="1610">
                  <c:v>0</c:v>
                </c:pt>
                <c:pt idx="1611">
                  <c:v>0</c:v>
                </c:pt>
                <c:pt idx="1612">
                  <c:v>0</c:v>
                </c:pt>
                <c:pt idx="1613">
                  <c:v>0</c:v>
                </c:pt>
                <c:pt idx="1614">
                  <c:v>0</c:v>
                </c:pt>
                <c:pt idx="1615">
                  <c:v>0</c:v>
                </c:pt>
                <c:pt idx="1616">
                  <c:v>0</c:v>
                </c:pt>
                <c:pt idx="1617">
                  <c:v>0</c:v>
                </c:pt>
                <c:pt idx="1618">
                  <c:v>0</c:v>
                </c:pt>
                <c:pt idx="1619">
                  <c:v>0</c:v>
                </c:pt>
                <c:pt idx="1620">
                  <c:v>0</c:v>
                </c:pt>
                <c:pt idx="1621">
                  <c:v>0</c:v>
                </c:pt>
                <c:pt idx="1622">
                  <c:v>0</c:v>
                </c:pt>
                <c:pt idx="1623">
                  <c:v>0</c:v>
                </c:pt>
                <c:pt idx="1624">
                  <c:v>0</c:v>
                </c:pt>
                <c:pt idx="1625">
                  <c:v>0</c:v>
                </c:pt>
                <c:pt idx="1626">
                  <c:v>0</c:v>
                </c:pt>
                <c:pt idx="1627">
                  <c:v>0</c:v>
                </c:pt>
                <c:pt idx="1628">
                  <c:v>0</c:v>
                </c:pt>
                <c:pt idx="1629">
                  <c:v>0</c:v>
                </c:pt>
                <c:pt idx="1630">
                  <c:v>0</c:v>
                </c:pt>
                <c:pt idx="1631">
                  <c:v>0</c:v>
                </c:pt>
                <c:pt idx="1632">
                  <c:v>0</c:v>
                </c:pt>
                <c:pt idx="1633">
                  <c:v>0</c:v>
                </c:pt>
                <c:pt idx="1634">
                  <c:v>0</c:v>
                </c:pt>
                <c:pt idx="1635">
                  <c:v>0</c:v>
                </c:pt>
                <c:pt idx="1636">
                  <c:v>0</c:v>
                </c:pt>
                <c:pt idx="1637">
                  <c:v>0</c:v>
                </c:pt>
                <c:pt idx="1638">
                  <c:v>0</c:v>
                </c:pt>
                <c:pt idx="1639">
                  <c:v>0</c:v>
                </c:pt>
                <c:pt idx="1640">
                  <c:v>0</c:v>
                </c:pt>
                <c:pt idx="1641">
                  <c:v>0</c:v>
                </c:pt>
                <c:pt idx="1642">
                  <c:v>0</c:v>
                </c:pt>
                <c:pt idx="1643">
                  <c:v>0</c:v>
                </c:pt>
                <c:pt idx="1644">
                  <c:v>0</c:v>
                </c:pt>
                <c:pt idx="1645">
                  <c:v>0</c:v>
                </c:pt>
                <c:pt idx="1646">
                  <c:v>0</c:v>
                </c:pt>
                <c:pt idx="1647">
                  <c:v>0</c:v>
                </c:pt>
                <c:pt idx="1648">
                  <c:v>0</c:v>
                </c:pt>
                <c:pt idx="1649">
                  <c:v>0</c:v>
                </c:pt>
                <c:pt idx="1650">
                  <c:v>0</c:v>
                </c:pt>
                <c:pt idx="1651">
                  <c:v>0</c:v>
                </c:pt>
                <c:pt idx="1652">
                  <c:v>0</c:v>
                </c:pt>
                <c:pt idx="1653">
                  <c:v>0</c:v>
                </c:pt>
                <c:pt idx="1654">
                  <c:v>0</c:v>
                </c:pt>
                <c:pt idx="1655">
                  <c:v>0</c:v>
                </c:pt>
                <c:pt idx="1656">
                  <c:v>0</c:v>
                </c:pt>
                <c:pt idx="1657">
                  <c:v>0</c:v>
                </c:pt>
                <c:pt idx="1658">
                  <c:v>0</c:v>
                </c:pt>
                <c:pt idx="1659">
                  <c:v>0</c:v>
                </c:pt>
                <c:pt idx="1660">
                  <c:v>0</c:v>
                </c:pt>
                <c:pt idx="1661">
                  <c:v>0</c:v>
                </c:pt>
                <c:pt idx="1662">
                  <c:v>0</c:v>
                </c:pt>
                <c:pt idx="1663">
                  <c:v>0</c:v>
                </c:pt>
                <c:pt idx="1664">
                  <c:v>0</c:v>
                </c:pt>
                <c:pt idx="1665">
                  <c:v>0</c:v>
                </c:pt>
                <c:pt idx="1666">
                  <c:v>0</c:v>
                </c:pt>
                <c:pt idx="1667">
                  <c:v>0</c:v>
                </c:pt>
                <c:pt idx="1668">
                  <c:v>0</c:v>
                </c:pt>
                <c:pt idx="1669">
                  <c:v>0</c:v>
                </c:pt>
                <c:pt idx="1670">
                  <c:v>0</c:v>
                </c:pt>
                <c:pt idx="1671">
                  <c:v>0</c:v>
                </c:pt>
                <c:pt idx="1672">
                  <c:v>0</c:v>
                </c:pt>
                <c:pt idx="1673">
                  <c:v>0</c:v>
                </c:pt>
                <c:pt idx="1674">
                  <c:v>0</c:v>
                </c:pt>
                <c:pt idx="1675">
                  <c:v>0</c:v>
                </c:pt>
                <c:pt idx="1676">
                  <c:v>0</c:v>
                </c:pt>
                <c:pt idx="1677">
                  <c:v>0</c:v>
                </c:pt>
                <c:pt idx="1678">
                  <c:v>0</c:v>
                </c:pt>
                <c:pt idx="1679">
                  <c:v>0</c:v>
                </c:pt>
                <c:pt idx="1680">
                  <c:v>0</c:v>
                </c:pt>
                <c:pt idx="1681">
                  <c:v>0</c:v>
                </c:pt>
                <c:pt idx="1682">
                  <c:v>0</c:v>
                </c:pt>
                <c:pt idx="1683">
                  <c:v>0</c:v>
                </c:pt>
                <c:pt idx="1684">
                  <c:v>0</c:v>
                </c:pt>
                <c:pt idx="1685">
                  <c:v>0</c:v>
                </c:pt>
                <c:pt idx="1686">
                  <c:v>0</c:v>
                </c:pt>
                <c:pt idx="1687">
                  <c:v>0</c:v>
                </c:pt>
                <c:pt idx="1688">
                  <c:v>0</c:v>
                </c:pt>
                <c:pt idx="1689">
                  <c:v>0</c:v>
                </c:pt>
                <c:pt idx="1690">
                  <c:v>0</c:v>
                </c:pt>
                <c:pt idx="1691">
                  <c:v>0</c:v>
                </c:pt>
                <c:pt idx="1692">
                  <c:v>0</c:v>
                </c:pt>
                <c:pt idx="1693">
                  <c:v>0</c:v>
                </c:pt>
                <c:pt idx="1694">
                  <c:v>0</c:v>
                </c:pt>
                <c:pt idx="1695">
                  <c:v>0</c:v>
                </c:pt>
                <c:pt idx="1696">
                  <c:v>0</c:v>
                </c:pt>
                <c:pt idx="1697">
                  <c:v>0</c:v>
                </c:pt>
                <c:pt idx="1698">
                  <c:v>0</c:v>
                </c:pt>
                <c:pt idx="1699">
                  <c:v>0</c:v>
                </c:pt>
                <c:pt idx="1700">
                  <c:v>0</c:v>
                </c:pt>
                <c:pt idx="1701">
                  <c:v>0</c:v>
                </c:pt>
                <c:pt idx="1702">
                  <c:v>0</c:v>
                </c:pt>
                <c:pt idx="1703">
                  <c:v>0</c:v>
                </c:pt>
                <c:pt idx="1704">
                  <c:v>0</c:v>
                </c:pt>
                <c:pt idx="1705">
                  <c:v>0</c:v>
                </c:pt>
                <c:pt idx="1706">
                  <c:v>0</c:v>
                </c:pt>
                <c:pt idx="1707">
                  <c:v>0</c:v>
                </c:pt>
                <c:pt idx="1708">
                  <c:v>0</c:v>
                </c:pt>
                <c:pt idx="1709">
                  <c:v>0</c:v>
                </c:pt>
                <c:pt idx="1710">
                  <c:v>0</c:v>
                </c:pt>
                <c:pt idx="1711">
                  <c:v>0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0</c:v>
                </c:pt>
                <c:pt idx="1733">
                  <c:v>0</c:v>
                </c:pt>
                <c:pt idx="1734">
                  <c:v>0</c:v>
                </c:pt>
                <c:pt idx="1735">
                  <c:v>0</c:v>
                </c:pt>
                <c:pt idx="1736">
                  <c:v>0</c:v>
                </c:pt>
                <c:pt idx="1737">
                  <c:v>0</c:v>
                </c:pt>
                <c:pt idx="1738">
                  <c:v>0</c:v>
                </c:pt>
                <c:pt idx="1739">
                  <c:v>0</c:v>
                </c:pt>
                <c:pt idx="1740">
                  <c:v>0</c:v>
                </c:pt>
                <c:pt idx="1741">
                  <c:v>0</c:v>
                </c:pt>
                <c:pt idx="1742">
                  <c:v>0</c:v>
                </c:pt>
                <c:pt idx="1743">
                  <c:v>0</c:v>
                </c:pt>
                <c:pt idx="1744">
                  <c:v>0</c:v>
                </c:pt>
                <c:pt idx="1745">
                  <c:v>0</c:v>
                </c:pt>
                <c:pt idx="1746">
                  <c:v>0</c:v>
                </c:pt>
                <c:pt idx="1747">
                  <c:v>0</c:v>
                </c:pt>
                <c:pt idx="1748">
                  <c:v>0</c:v>
                </c:pt>
                <c:pt idx="1749">
                  <c:v>0</c:v>
                </c:pt>
                <c:pt idx="1750">
                  <c:v>0</c:v>
                </c:pt>
                <c:pt idx="1751">
                  <c:v>0</c:v>
                </c:pt>
                <c:pt idx="1752">
                  <c:v>0</c:v>
                </c:pt>
                <c:pt idx="1753">
                  <c:v>0</c:v>
                </c:pt>
                <c:pt idx="1754">
                  <c:v>0</c:v>
                </c:pt>
                <c:pt idx="1755">
                  <c:v>0</c:v>
                </c:pt>
                <c:pt idx="1756">
                  <c:v>0</c:v>
                </c:pt>
                <c:pt idx="1757">
                  <c:v>0</c:v>
                </c:pt>
                <c:pt idx="1758">
                  <c:v>0</c:v>
                </c:pt>
                <c:pt idx="1759">
                  <c:v>0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</c:v>
                </c:pt>
                <c:pt idx="1764">
                  <c:v>0</c:v>
                </c:pt>
                <c:pt idx="1765">
                  <c:v>0</c:v>
                </c:pt>
                <c:pt idx="1766">
                  <c:v>0</c:v>
                </c:pt>
                <c:pt idx="1767">
                  <c:v>0</c:v>
                </c:pt>
                <c:pt idx="1768">
                  <c:v>0</c:v>
                </c:pt>
                <c:pt idx="1769">
                  <c:v>0</c:v>
                </c:pt>
                <c:pt idx="1770">
                  <c:v>0</c:v>
                </c:pt>
                <c:pt idx="1771">
                  <c:v>0</c:v>
                </c:pt>
                <c:pt idx="1772">
                  <c:v>0</c:v>
                </c:pt>
                <c:pt idx="1773">
                  <c:v>0</c:v>
                </c:pt>
                <c:pt idx="1774">
                  <c:v>0</c:v>
                </c:pt>
                <c:pt idx="1775">
                  <c:v>0</c:v>
                </c:pt>
                <c:pt idx="1776">
                  <c:v>0</c:v>
                </c:pt>
                <c:pt idx="1777">
                  <c:v>0</c:v>
                </c:pt>
                <c:pt idx="1778">
                  <c:v>0</c:v>
                </c:pt>
                <c:pt idx="1779">
                  <c:v>0</c:v>
                </c:pt>
                <c:pt idx="1780">
                  <c:v>0</c:v>
                </c:pt>
                <c:pt idx="1781">
                  <c:v>0</c:v>
                </c:pt>
                <c:pt idx="1782">
                  <c:v>0</c:v>
                </c:pt>
                <c:pt idx="1783">
                  <c:v>0</c:v>
                </c:pt>
                <c:pt idx="1784">
                  <c:v>0</c:v>
                </c:pt>
                <c:pt idx="1785">
                  <c:v>0</c:v>
                </c:pt>
                <c:pt idx="1786">
                  <c:v>0</c:v>
                </c:pt>
                <c:pt idx="1787">
                  <c:v>0</c:v>
                </c:pt>
                <c:pt idx="1788">
                  <c:v>0</c:v>
                </c:pt>
                <c:pt idx="1789">
                  <c:v>0</c:v>
                </c:pt>
                <c:pt idx="1790">
                  <c:v>0</c:v>
                </c:pt>
                <c:pt idx="1791">
                  <c:v>0</c:v>
                </c:pt>
                <c:pt idx="1792">
                  <c:v>0</c:v>
                </c:pt>
                <c:pt idx="1793">
                  <c:v>0</c:v>
                </c:pt>
                <c:pt idx="1794">
                  <c:v>0</c:v>
                </c:pt>
                <c:pt idx="1795">
                  <c:v>0</c:v>
                </c:pt>
                <c:pt idx="1796">
                  <c:v>0</c:v>
                </c:pt>
                <c:pt idx="1797">
                  <c:v>0</c:v>
                </c:pt>
                <c:pt idx="1798">
                  <c:v>0</c:v>
                </c:pt>
                <c:pt idx="1799">
                  <c:v>0</c:v>
                </c:pt>
                <c:pt idx="1800">
                  <c:v>0</c:v>
                </c:pt>
                <c:pt idx="1801">
                  <c:v>0</c:v>
                </c:pt>
                <c:pt idx="1802">
                  <c:v>0</c:v>
                </c:pt>
                <c:pt idx="1803">
                  <c:v>0</c:v>
                </c:pt>
                <c:pt idx="1804">
                  <c:v>0</c:v>
                </c:pt>
                <c:pt idx="1805">
                  <c:v>0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0</c:v>
                </c:pt>
                <c:pt idx="1810">
                  <c:v>0</c:v>
                </c:pt>
                <c:pt idx="1811">
                  <c:v>0</c:v>
                </c:pt>
                <c:pt idx="1812">
                  <c:v>0</c:v>
                </c:pt>
                <c:pt idx="1813">
                  <c:v>0</c:v>
                </c:pt>
                <c:pt idx="1814">
                  <c:v>0</c:v>
                </c:pt>
                <c:pt idx="1815">
                  <c:v>0</c:v>
                </c:pt>
                <c:pt idx="1816">
                  <c:v>0</c:v>
                </c:pt>
                <c:pt idx="1817">
                  <c:v>0</c:v>
                </c:pt>
                <c:pt idx="1818">
                  <c:v>0</c:v>
                </c:pt>
                <c:pt idx="1819">
                  <c:v>0</c:v>
                </c:pt>
                <c:pt idx="1820">
                  <c:v>0</c:v>
                </c:pt>
                <c:pt idx="1821">
                  <c:v>0</c:v>
                </c:pt>
                <c:pt idx="1822">
                  <c:v>0</c:v>
                </c:pt>
                <c:pt idx="1823">
                  <c:v>0</c:v>
                </c:pt>
                <c:pt idx="1824">
                  <c:v>0</c:v>
                </c:pt>
                <c:pt idx="1825">
                  <c:v>0</c:v>
                </c:pt>
                <c:pt idx="1826">
                  <c:v>0</c:v>
                </c:pt>
                <c:pt idx="1827">
                  <c:v>0</c:v>
                </c:pt>
                <c:pt idx="1828">
                  <c:v>0</c:v>
                </c:pt>
                <c:pt idx="1829">
                  <c:v>0</c:v>
                </c:pt>
                <c:pt idx="1830">
                  <c:v>0</c:v>
                </c:pt>
                <c:pt idx="1831">
                  <c:v>0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0</c:v>
                </c:pt>
                <c:pt idx="1836">
                  <c:v>0</c:v>
                </c:pt>
                <c:pt idx="1837">
                  <c:v>0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0</c:v>
                </c:pt>
                <c:pt idx="1842">
                  <c:v>0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0</c:v>
                </c:pt>
                <c:pt idx="1864">
                  <c:v>0</c:v>
                </c:pt>
                <c:pt idx="1865">
                  <c:v>0</c:v>
                </c:pt>
                <c:pt idx="1866">
                  <c:v>0</c:v>
                </c:pt>
                <c:pt idx="1867">
                  <c:v>0</c:v>
                </c:pt>
                <c:pt idx="1868">
                  <c:v>0</c:v>
                </c:pt>
                <c:pt idx="1869">
                  <c:v>0</c:v>
                </c:pt>
                <c:pt idx="1870">
                  <c:v>0</c:v>
                </c:pt>
                <c:pt idx="1871">
                  <c:v>0</c:v>
                </c:pt>
                <c:pt idx="1872">
                  <c:v>0</c:v>
                </c:pt>
                <c:pt idx="1873">
                  <c:v>0</c:v>
                </c:pt>
                <c:pt idx="1874">
                  <c:v>0</c:v>
                </c:pt>
                <c:pt idx="1875">
                  <c:v>0</c:v>
                </c:pt>
                <c:pt idx="1876">
                  <c:v>0</c:v>
                </c:pt>
                <c:pt idx="1877">
                  <c:v>0</c:v>
                </c:pt>
                <c:pt idx="1878">
                  <c:v>0</c:v>
                </c:pt>
                <c:pt idx="1879">
                  <c:v>0</c:v>
                </c:pt>
                <c:pt idx="1880">
                  <c:v>0</c:v>
                </c:pt>
                <c:pt idx="1881">
                  <c:v>0</c:v>
                </c:pt>
                <c:pt idx="1882">
                  <c:v>0</c:v>
                </c:pt>
                <c:pt idx="1883">
                  <c:v>0</c:v>
                </c:pt>
                <c:pt idx="1884">
                  <c:v>0</c:v>
                </c:pt>
                <c:pt idx="1885">
                  <c:v>0</c:v>
                </c:pt>
                <c:pt idx="1886">
                  <c:v>0</c:v>
                </c:pt>
                <c:pt idx="1887">
                  <c:v>0</c:v>
                </c:pt>
                <c:pt idx="1888">
                  <c:v>0</c:v>
                </c:pt>
                <c:pt idx="1889">
                  <c:v>0</c:v>
                </c:pt>
                <c:pt idx="1890">
                  <c:v>0</c:v>
                </c:pt>
                <c:pt idx="1891">
                  <c:v>0</c:v>
                </c:pt>
                <c:pt idx="1892">
                  <c:v>0</c:v>
                </c:pt>
                <c:pt idx="1893">
                  <c:v>0</c:v>
                </c:pt>
                <c:pt idx="1894">
                  <c:v>0</c:v>
                </c:pt>
                <c:pt idx="1895">
                  <c:v>0</c:v>
                </c:pt>
                <c:pt idx="1896">
                  <c:v>0</c:v>
                </c:pt>
                <c:pt idx="1897">
                  <c:v>0</c:v>
                </c:pt>
                <c:pt idx="1898">
                  <c:v>0</c:v>
                </c:pt>
                <c:pt idx="1899">
                  <c:v>0</c:v>
                </c:pt>
                <c:pt idx="1900">
                  <c:v>0</c:v>
                </c:pt>
                <c:pt idx="1901">
                  <c:v>0</c:v>
                </c:pt>
                <c:pt idx="1902">
                  <c:v>0</c:v>
                </c:pt>
                <c:pt idx="1903">
                  <c:v>0</c:v>
                </c:pt>
                <c:pt idx="1904">
                  <c:v>0</c:v>
                </c:pt>
                <c:pt idx="1905">
                  <c:v>0</c:v>
                </c:pt>
                <c:pt idx="1906">
                  <c:v>0</c:v>
                </c:pt>
                <c:pt idx="1907">
                  <c:v>0</c:v>
                </c:pt>
                <c:pt idx="1908">
                  <c:v>0</c:v>
                </c:pt>
                <c:pt idx="1909">
                  <c:v>0</c:v>
                </c:pt>
                <c:pt idx="1910">
                  <c:v>0</c:v>
                </c:pt>
                <c:pt idx="1911">
                  <c:v>0</c:v>
                </c:pt>
                <c:pt idx="1912">
                  <c:v>0</c:v>
                </c:pt>
                <c:pt idx="1913">
                  <c:v>0</c:v>
                </c:pt>
                <c:pt idx="1914">
                  <c:v>0</c:v>
                </c:pt>
                <c:pt idx="1915">
                  <c:v>0</c:v>
                </c:pt>
                <c:pt idx="1916">
                  <c:v>0</c:v>
                </c:pt>
                <c:pt idx="1917">
                  <c:v>0</c:v>
                </c:pt>
                <c:pt idx="1918">
                  <c:v>0</c:v>
                </c:pt>
                <c:pt idx="1919">
                  <c:v>0</c:v>
                </c:pt>
                <c:pt idx="1920">
                  <c:v>0</c:v>
                </c:pt>
                <c:pt idx="1921">
                  <c:v>0</c:v>
                </c:pt>
                <c:pt idx="1922">
                  <c:v>0</c:v>
                </c:pt>
                <c:pt idx="1923">
                  <c:v>0</c:v>
                </c:pt>
                <c:pt idx="1924">
                  <c:v>0</c:v>
                </c:pt>
                <c:pt idx="1925">
                  <c:v>0</c:v>
                </c:pt>
                <c:pt idx="1926">
                  <c:v>0</c:v>
                </c:pt>
                <c:pt idx="1927">
                  <c:v>0</c:v>
                </c:pt>
                <c:pt idx="1928">
                  <c:v>0</c:v>
                </c:pt>
                <c:pt idx="1929">
                  <c:v>0</c:v>
                </c:pt>
                <c:pt idx="1930">
                  <c:v>0</c:v>
                </c:pt>
                <c:pt idx="1931">
                  <c:v>0</c:v>
                </c:pt>
                <c:pt idx="1932">
                  <c:v>0</c:v>
                </c:pt>
                <c:pt idx="1933">
                  <c:v>0</c:v>
                </c:pt>
                <c:pt idx="1934">
                  <c:v>0</c:v>
                </c:pt>
                <c:pt idx="1935">
                  <c:v>0</c:v>
                </c:pt>
                <c:pt idx="1936">
                  <c:v>0</c:v>
                </c:pt>
                <c:pt idx="1937">
                  <c:v>0</c:v>
                </c:pt>
                <c:pt idx="1938">
                  <c:v>0</c:v>
                </c:pt>
                <c:pt idx="1939">
                  <c:v>0</c:v>
                </c:pt>
                <c:pt idx="1940">
                  <c:v>0</c:v>
                </c:pt>
                <c:pt idx="1941">
                  <c:v>0</c:v>
                </c:pt>
                <c:pt idx="1942">
                  <c:v>0</c:v>
                </c:pt>
                <c:pt idx="1943">
                  <c:v>0</c:v>
                </c:pt>
                <c:pt idx="1944">
                  <c:v>0</c:v>
                </c:pt>
                <c:pt idx="1945">
                  <c:v>0</c:v>
                </c:pt>
                <c:pt idx="1946">
                  <c:v>0</c:v>
                </c:pt>
                <c:pt idx="1947">
                  <c:v>0</c:v>
                </c:pt>
                <c:pt idx="1948">
                  <c:v>0</c:v>
                </c:pt>
                <c:pt idx="1949">
                  <c:v>0</c:v>
                </c:pt>
                <c:pt idx="1950">
                  <c:v>0</c:v>
                </c:pt>
                <c:pt idx="1951">
                  <c:v>0</c:v>
                </c:pt>
                <c:pt idx="1952">
                  <c:v>0</c:v>
                </c:pt>
                <c:pt idx="1953">
                  <c:v>0</c:v>
                </c:pt>
                <c:pt idx="1954">
                  <c:v>0</c:v>
                </c:pt>
                <c:pt idx="1955">
                  <c:v>0</c:v>
                </c:pt>
                <c:pt idx="1956">
                  <c:v>0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0</c:v>
                </c:pt>
                <c:pt idx="1961">
                  <c:v>0</c:v>
                </c:pt>
                <c:pt idx="1962">
                  <c:v>0</c:v>
                </c:pt>
                <c:pt idx="1963">
                  <c:v>0</c:v>
                </c:pt>
                <c:pt idx="1964">
                  <c:v>0</c:v>
                </c:pt>
                <c:pt idx="1965">
                  <c:v>0</c:v>
                </c:pt>
                <c:pt idx="1966">
                  <c:v>0</c:v>
                </c:pt>
                <c:pt idx="1967">
                  <c:v>0</c:v>
                </c:pt>
                <c:pt idx="1968">
                  <c:v>0</c:v>
                </c:pt>
                <c:pt idx="1969">
                  <c:v>0</c:v>
                </c:pt>
                <c:pt idx="1970">
                  <c:v>0</c:v>
                </c:pt>
                <c:pt idx="1971">
                  <c:v>0</c:v>
                </c:pt>
                <c:pt idx="1972">
                  <c:v>0</c:v>
                </c:pt>
                <c:pt idx="1973">
                  <c:v>0</c:v>
                </c:pt>
                <c:pt idx="1974">
                  <c:v>0</c:v>
                </c:pt>
                <c:pt idx="1975">
                  <c:v>0</c:v>
                </c:pt>
                <c:pt idx="1976">
                  <c:v>0</c:v>
                </c:pt>
                <c:pt idx="1977">
                  <c:v>0</c:v>
                </c:pt>
                <c:pt idx="1978">
                  <c:v>0</c:v>
                </c:pt>
                <c:pt idx="1979">
                  <c:v>0</c:v>
                </c:pt>
                <c:pt idx="1980">
                  <c:v>0</c:v>
                </c:pt>
                <c:pt idx="1981">
                  <c:v>0</c:v>
                </c:pt>
                <c:pt idx="1982">
                  <c:v>0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0</c:v>
                </c:pt>
                <c:pt idx="1987">
                  <c:v>0</c:v>
                </c:pt>
                <c:pt idx="1988">
                  <c:v>0</c:v>
                </c:pt>
                <c:pt idx="1989">
                  <c:v>0</c:v>
                </c:pt>
                <c:pt idx="1990">
                  <c:v>0</c:v>
                </c:pt>
                <c:pt idx="1991">
                  <c:v>0</c:v>
                </c:pt>
                <c:pt idx="1992">
                  <c:v>0</c:v>
                </c:pt>
                <c:pt idx="1993">
                  <c:v>0</c:v>
                </c:pt>
                <c:pt idx="1994">
                  <c:v>0</c:v>
                </c:pt>
                <c:pt idx="1995">
                  <c:v>0</c:v>
                </c:pt>
                <c:pt idx="1996">
                  <c:v>0</c:v>
                </c:pt>
                <c:pt idx="1997">
                  <c:v>0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0</c:v>
                </c:pt>
                <c:pt idx="2009">
                  <c:v>0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</c:v>
                </c:pt>
                <c:pt idx="2015">
                  <c:v>0</c:v>
                </c:pt>
                <c:pt idx="2016">
                  <c:v>0</c:v>
                </c:pt>
                <c:pt idx="2017">
                  <c:v>0</c:v>
                </c:pt>
                <c:pt idx="2018">
                  <c:v>0</c:v>
                </c:pt>
                <c:pt idx="2019">
                  <c:v>0</c:v>
                </c:pt>
                <c:pt idx="2020">
                  <c:v>0</c:v>
                </c:pt>
                <c:pt idx="2021">
                  <c:v>0</c:v>
                </c:pt>
                <c:pt idx="2022">
                  <c:v>0</c:v>
                </c:pt>
                <c:pt idx="2023">
                  <c:v>0</c:v>
                </c:pt>
                <c:pt idx="2024">
                  <c:v>0</c:v>
                </c:pt>
                <c:pt idx="2025">
                  <c:v>0</c:v>
                </c:pt>
                <c:pt idx="2026">
                  <c:v>0</c:v>
                </c:pt>
                <c:pt idx="2027">
                  <c:v>0</c:v>
                </c:pt>
                <c:pt idx="2028">
                  <c:v>0</c:v>
                </c:pt>
                <c:pt idx="2029">
                  <c:v>0</c:v>
                </c:pt>
                <c:pt idx="2030">
                  <c:v>0</c:v>
                </c:pt>
                <c:pt idx="2031">
                  <c:v>0</c:v>
                </c:pt>
                <c:pt idx="2032">
                  <c:v>0</c:v>
                </c:pt>
                <c:pt idx="2033">
                  <c:v>0</c:v>
                </c:pt>
                <c:pt idx="2034">
                  <c:v>0</c:v>
                </c:pt>
                <c:pt idx="2035">
                  <c:v>0</c:v>
                </c:pt>
                <c:pt idx="2036">
                  <c:v>0</c:v>
                </c:pt>
                <c:pt idx="2037">
                  <c:v>0</c:v>
                </c:pt>
                <c:pt idx="2038">
                  <c:v>0</c:v>
                </c:pt>
                <c:pt idx="2039">
                  <c:v>0</c:v>
                </c:pt>
                <c:pt idx="2040">
                  <c:v>0</c:v>
                </c:pt>
                <c:pt idx="2041">
                  <c:v>0</c:v>
                </c:pt>
                <c:pt idx="2042">
                  <c:v>0</c:v>
                </c:pt>
                <c:pt idx="2043">
                  <c:v>0</c:v>
                </c:pt>
                <c:pt idx="2044">
                  <c:v>0</c:v>
                </c:pt>
                <c:pt idx="2045">
                  <c:v>0</c:v>
                </c:pt>
                <c:pt idx="2046">
                  <c:v>0</c:v>
                </c:pt>
                <c:pt idx="2047">
                  <c:v>0</c:v>
                </c:pt>
                <c:pt idx="2048">
                  <c:v>0</c:v>
                </c:pt>
                <c:pt idx="2049">
                  <c:v>0</c:v>
                </c:pt>
                <c:pt idx="2050">
                  <c:v>0</c:v>
                </c:pt>
                <c:pt idx="2051">
                  <c:v>0</c:v>
                </c:pt>
                <c:pt idx="2052">
                  <c:v>0</c:v>
                </c:pt>
                <c:pt idx="2053">
                  <c:v>0</c:v>
                </c:pt>
                <c:pt idx="2054">
                  <c:v>0</c:v>
                </c:pt>
                <c:pt idx="2055">
                  <c:v>0</c:v>
                </c:pt>
                <c:pt idx="2056">
                  <c:v>0</c:v>
                </c:pt>
                <c:pt idx="2057">
                  <c:v>0</c:v>
                </c:pt>
                <c:pt idx="2058">
                  <c:v>0</c:v>
                </c:pt>
                <c:pt idx="2059">
                  <c:v>0</c:v>
                </c:pt>
                <c:pt idx="2060">
                  <c:v>0</c:v>
                </c:pt>
                <c:pt idx="2061">
                  <c:v>0</c:v>
                </c:pt>
                <c:pt idx="2062">
                  <c:v>0</c:v>
                </c:pt>
                <c:pt idx="2063">
                  <c:v>0</c:v>
                </c:pt>
                <c:pt idx="2064">
                  <c:v>0</c:v>
                </c:pt>
                <c:pt idx="2065">
                  <c:v>0</c:v>
                </c:pt>
                <c:pt idx="2066">
                  <c:v>0</c:v>
                </c:pt>
                <c:pt idx="2067">
                  <c:v>0</c:v>
                </c:pt>
                <c:pt idx="2068">
                  <c:v>0</c:v>
                </c:pt>
                <c:pt idx="2069">
                  <c:v>0</c:v>
                </c:pt>
                <c:pt idx="2070">
                  <c:v>0</c:v>
                </c:pt>
                <c:pt idx="2071">
                  <c:v>0</c:v>
                </c:pt>
                <c:pt idx="2072">
                  <c:v>0</c:v>
                </c:pt>
                <c:pt idx="2073">
                  <c:v>0</c:v>
                </c:pt>
                <c:pt idx="2074">
                  <c:v>0</c:v>
                </c:pt>
                <c:pt idx="2075">
                  <c:v>0</c:v>
                </c:pt>
                <c:pt idx="2076">
                  <c:v>0</c:v>
                </c:pt>
                <c:pt idx="2077">
                  <c:v>0</c:v>
                </c:pt>
                <c:pt idx="2078">
                  <c:v>0</c:v>
                </c:pt>
                <c:pt idx="2079">
                  <c:v>0</c:v>
                </c:pt>
                <c:pt idx="2080">
                  <c:v>0</c:v>
                </c:pt>
                <c:pt idx="2081">
                  <c:v>0</c:v>
                </c:pt>
                <c:pt idx="2082">
                  <c:v>0</c:v>
                </c:pt>
                <c:pt idx="2083">
                  <c:v>0</c:v>
                </c:pt>
                <c:pt idx="2084">
                  <c:v>0</c:v>
                </c:pt>
                <c:pt idx="2085">
                  <c:v>0</c:v>
                </c:pt>
                <c:pt idx="2086">
                  <c:v>0</c:v>
                </c:pt>
                <c:pt idx="2087">
                  <c:v>0</c:v>
                </c:pt>
                <c:pt idx="2088">
                  <c:v>0</c:v>
                </c:pt>
                <c:pt idx="2089">
                  <c:v>0</c:v>
                </c:pt>
                <c:pt idx="2090">
                  <c:v>0</c:v>
                </c:pt>
                <c:pt idx="2091">
                  <c:v>0</c:v>
                </c:pt>
                <c:pt idx="2092">
                  <c:v>0</c:v>
                </c:pt>
                <c:pt idx="2093">
                  <c:v>0</c:v>
                </c:pt>
                <c:pt idx="2094">
                  <c:v>0</c:v>
                </c:pt>
                <c:pt idx="2095">
                  <c:v>0</c:v>
                </c:pt>
                <c:pt idx="2096">
                  <c:v>0</c:v>
                </c:pt>
                <c:pt idx="2097">
                  <c:v>0</c:v>
                </c:pt>
                <c:pt idx="2098">
                  <c:v>0</c:v>
                </c:pt>
                <c:pt idx="2099">
                  <c:v>0</c:v>
                </c:pt>
                <c:pt idx="2100">
                  <c:v>0</c:v>
                </c:pt>
                <c:pt idx="2101">
                  <c:v>0</c:v>
                </c:pt>
                <c:pt idx="2102">
                  <c:v>0</c:v>
                </c:pt>
                <c:pt idx="2103">
                  <c:v>0</c:v>
                </c:pt>
                <c:pt idx="2104">
                  <c:v>0</c:v>
                </c:pt>
                <c:pt idx="2105">
                  <c:v>0</c:v>
                </c:pt>
                <c:pt idx="2106">
                  <c:v>0</c:v>
                </c:pt>
                <c:pt idx="2107">
                  <c:v>0</c:v>
                </c:pt>
                <c:pt idx="2108">
                  <c:v>0</c:v>
                </c:pt>
                <c:pt idx="2109">
                  <c:v>0</c:v>
                </c:pt>
                <c:pt idx="2110">
                  <c:v>0</c:v>
                </c:pt>
                <c:pt idx="2111">
                  <c:v>0</c:v>
                </c:pt>
                <c:pt idx="2112">
                  <c:v>0</c:v>
                </c:pt>
                <c:pt idx="2113">
                  <c:v>0</c:v>
                </c:pt>
                <c:pt idx="2114">
                  <c:v>0</c:v>
                </c:pt>
                <c:pt idx="2115">
                  <c:v>0</c:v>
                </c:pt>
                <c:pt idx="2116">
                  <c:v>0</c:v>
                </c:pt>
                <c:pt idx="2117">
                  <c:v>0</c:v>
                </c:pt>
                <c:pt idx="2118">
                  <c:v>0</c:v>
                </c:pt>
                <c:pt idx="2119">
                  <c:v>0</c:v>
                </c:pt>
                <c:pt idx="2120">
                  <c:v>0</c:v>
                </c:pt>
                <c:pt idx="2121">
                  <c:v>0</c:v>
                </c:pt>
                <c:pt idx="2122">
                  <c:v>0</c:v>
                </c:pt>
                <c:pt idx="2123">
                  <c:v>0</c:v>
                </c:pt>
                <c:pt idx="2124">
                  <c:v>0</c:v>
                </c:pt>
                <c:pt idx="2125">
                  <c:v>0</c:v>
                </c:pt>
                <c:pt idx="2126">
                  <c:v>0</c:v>
                </c:pt>
                <c:pt idx="2127">
                  <c:v>0</c:v>
                </c:pt>
                <c:pt idx="2128">
                  <c:v>0</c:v>
                </c:pt>
                <c:pt idx="2129">
                  <c:v>0</c:v>
                </c:pt>
                <c:pt idx="2130">
                  <c:v>0</c:v>
                </c:pt>
                <c:pt idx="2131">
                  <c:v>0</c:v>
                </c:pt>
                <c:pt idx="2132">
                  <c:v>0</c:v>
                </c:pt>
                <c:pt idx="2133">
                  <c:v>0</c:v>
                </c:pt>
                <c:pt idx="2134">
                  <c:v>0</c:v>
                </c:pt>
                <c:pt idx="2135">
                  <c:v>0</c:v>
                </c:pt>
                <c:pt idx="2136">
                  <c:v>0</c:v>
                </c:pt>
                <c:pt idx="2137">
                  <c:v>0</c:v>
                </c:pt>
                <c:pt idx="2138">
                  <c:v>0</c:v>
                </c:pt>
                <c:pt idx="2139">
                  <c:v>0</c:v>
                </c:pt>
                <c:pt idx="2140">
                  <c:v>0</c:v>
                </c:pt>
                <c:pt idx="2141">
                  <c:v>0</c:v>
                </c:pt>
                <c:pt idx="2142">
                  <c:v>0</c:v>
                </c:pt>
                <c:pt idx="2143">
                  <c:v>0</c:v>
                </c:pt>
                <c:pt idx="2144">
                  <c:v>0</c:v>
                </c:pt>
                <c:pt idx="2145">
                  <c:v>0</c:v>
                </c:pt>
                <c:pt idx="2146">
                  <c:v>0</c:v>
                </c:pt>
                <c:pt idx="2147">
                  <c:v>0</c:v>
                </c:pt>
                <c:pt idx="2148">
                  <c:v>0</c:v>
                </c:pt>
                <c:pt idx="2149">
                  <c:v>0</c:v>
                </c:pt>
                <c:pt idx="2150">
                  <c:v>0</c:v>
                </c:pt>
                <c:pt idx="2151">
                  <c:v>0</c:v>
                </c:pt>
                <c:pt idx="2152">
                  <c:v>0</c:v>
                </c:pt>
                <c:pt idx="2153">
                  <c:v>0</c:v>
                </c:pt>
                <c:pt idx="2154">
                  <c:v>0</c:v>
                </c:pt>
                <c:pt idx="2155">
                  <c:v>0</c:v>
                </c:pt>
                <c:pt idx="2156">
                  <c:v>0</c:v>
                </c:pt>
                <c:pt idx="2157">
                  <c:v>0</c:v>
                </c:pt>
                <c:pt idx="2158">
                  <c:v>0</c:v>
                </c:pt>
                <c:pt idx="2159">
                  <c:v>0</c:v>
                </c:pt>
                <c:pt idx="2160">
                  <c:v>0</c:v>
                </c:pt>
                <c:pt idx="2161">
                  <c:v>0</c:v>
                </c:pt>
                <c:pt idx="2162">
                  <c:v>0</c:v>
                </c:pt>
                <c:pt idx="2163">
                  <c:v>0</c:v>
                </c:pt>
                <c:pt idx="2164">
                  <c:v>0</c:v>
                </c:pt>
                <c:pt idx="2165">
                  <c:v>0</c:v>
                </c:pt>
                <c:pt idx="2166">
                  <c:v>0</c:v>
                </c:pt>
                <c:pt idx="2167">
                  <c:v>0</c:v>
                </c:pt>
                <c:pt idx="2168">
                  <c:v>0</c:v>
                </c:pt>
                <c:pt idx="2169">
                  <c:v>0</c:v>
                </c:pt>
                <c:pt idx="2170">
                  <c:v>0</c:v>
                </c:pt>
                <c:pt idx="2171">
                  <c:v>0</c:v>
                </c:pt>
                <c:pt idx="2172">
                  <c:v>0</c:v>
                </c:pt>
                <c:pt idx="2173">
                  <c:v>0</c:v>
                </c:pt>
                <c:pt idx="2174">
                  <c:v>0</c:v>
                </c:pt>
                <c:pt idx="2175">
                  <c:v>0</c:v>
                </c:pt>
                <c:pt idx="2176">
                  <c:v>0</c:v>
                </c:pt>
                <c:pt idx="2177">
                  <c:v>0</c:v>
                </c:pt>
                <c:pt idx="2178">
                  <c:v>0</c:v>
                </c:pt>
                <c:pt idx="2179">
                  <c:v>0</c:v>
                </c:pt>
                <c:pt idx="2180">
                  <c:v>0</c:v>
                </c:pt>
                <c:pt idx="2181">
                  <c:v>0</c:v>
                </c:pt>
                <c:pt idx="2182">
                  <c:v>0</c:v>
                </c:pt>
                <c:pt idx="2183">
                  <c:v>0</c:v>
                </c:pt>
                <c:pt idx="2184">
                  <c:v>0</c:v>
                </c:pt>
                <c:pt idx="2185">
                  <c:v>0</c:v>
                </c:pt>
                <c:pt idx="2186">
                  <c:v>0</c:v>
                </c:pt>
                <c:pt idx="2187">
                  <c:v>0</c:v>
                </c:pt>
                <c:pt idx="2188">
                  <c:v>0</c:v>
                </c:pt>
                <c:pt idx="2189">
                  <c:v>0</c:v>
                </c:pt>
                <c:pt idx="2190">
                  <c:v>0</c:v>
                </c:pt>
                <c:pt idx="2191">
                  <c:v>0</c:v>
                </c:pt>
                <c:pt idx="2192">
                  <c:v>0</c:v>
                </c:pt>
                <c:pt idx="2193">
                  <c:v>0</c:v>
                </c:pt>
                <c:pt idx="2194">
                  <c:v>0</c:v>
                </c:pt>
                <c:pt idx="2195">
                  <c:v>0</c:v>
                </c:pt>
                <c:pt idx="2196">
                  <c:v>0</c:v>
                </c:pt>
                <c:pt idx="2197">
                  <c:v>0</c:v>
                </c:pt>
                <c:pt idx="2198">
                  <c:v>0</c:v>
                </c:pt>
                <c:pt idx="2199">
                  <c:v>0</c:v>
                </c:pt>
                <c:pt idx="2200">
                  <c:v>0</c:v>
                </c:pt>
                <c:pt idx="2201">
                  <c:v>0</c:v>
                </c:pt>
                <c:pt idx="2202">
                  <c:v>0</c:v>
                </c:pt>
                <c:pt idx="2203">
                  <c:v>0</c:v>
                </c:pt>
                <c:pt idx="2204">
                  <c:v>0</c:v>
                </c:pt>
                <c:pt idx="2205">
                  <c:v>0</c:v>
                </c:pt>
                <c:pt idx="2206">
                  <c:v>0</c:v>
                </c:pt>
                <c:pt idx="2207">
                  <c:v>0</c:v>
                </c:pt>
                <c:pt idx="2208">
                  <c:v>0</c:v>
                </c:pt>
                <c:pt idx="2209">
                  <c:v>0</c:v>
                </c:pt>
                <c:pt idx="2210">
                  <c:v>0</c:v>
                </c:pt>
                <c:pt idx="2211">
                  <c:v>0</c:v>
                </c:pt>
                <c:pt idx="2212">
                  <c:v>0</c:v>
                </c:pt>
                <c:pt idx="2213">
                  <c:v>0</c:v>
                </c:pt>
                <c:pt idx="2214">
                  <c:v>0</c:v>
                </c:pt>
                <c:pt idx="2215">
                  <c:v>0</c:v>
                </c:pt>
                <c:pt idx="2216">
                  <c:v>0</c:v>
                </c:pt>
                <c:pt idx="2217">
                  <c:v>0</c:v>
                </c:pt>
                <c:pt idx="2218">
                  <c:v>0</c:v>
                </c:pt>
                <c:pt idx="2219">
                  <c:v>0</c:v>
                </c:pt>
                <c:pt idx="2220">
                  <c:v>0</c:v>
                </c:pt>
                <c:pt idx="2221">
                  <c:v>0</c:v>
                </c:pt>
                <c:pt idx="2222">
                  <c:v>0</c:v>
                </c:pt>
                <c:pt idx="2223">
                  <c:v>0</c:v>
                </c:pt>
                <c:pt idx="2224">
                  <c:v>0</c:v>
                </c:pt>
                <c:pt idx="2225">
                  <c:v>0</c:v>
                </c:pt>
                <c:pt idx="2226">
                  <c:v>0</c:v>
                </c:pt>
                <c:pt idx="2227">
                  <c:v>0</c:v>
                </c:pt>
                <c:pt idx="2228">
                  <c:v>0</c:v>
                </c:pt>
                <c:pt idx="2229">
                  <c:v>0</c:v>
                </c:pt>
                <c:pt idx="2230">
                  <c:v>0</c:v>
                </c:pt>
                <c:pt idx="2231">
                  <c:v>0</c:v>
                </c:pt>
                <c:pt idx="2232">
                  <c:v>0</c:v>
                </c:pt>
                <c:pt idx="2233">
                  <c:v>0</c:v>
                </c:pt>
                <c:pt idx="2234">
                  <c:v>0</c:v>
                </c:pt>
                <c:pt idx="2235">
                  <c:v>0</c:v>
                </c:pt>
                <c:pt idx="2236">
                  <c:v>0</c:v>
                </c:pt>
                <c:pt idx="2237">
                  <c:v>0</c:v>
                </c:pt>
                <c:pt idx="2238">
                  <c:v>0</c:v>
                </c:pt>
                <c:pt idx="2239">
                  <c:v>0</c:v>
                </c:pt>
                <c:pt idx="2240">
                  <c:v>0</c:v>
                </c:pt>
                <c:pt idx="2241">
                  <c:v>0</c:v>
                </c:pt>
                <c:pt idx="2242">
                  <c:v>0</c:v>
                </c:pt>
                <c:pt idx="2243">
                  <c:v>0</c:v>
                </c:pt>
                <c:pt idx="2244">
                  <c:v>0</c:v>
                </c:pt>
                <c:pt idx="2245">
                  <c:v>0</c:v>
                </c:pt>
                <c:pt idx="2246">
                  <c:v>0</c:v>
                </c:pt>
                <c:pt idx="2247">
                  <c:v>0</c:v>
                </c:pt>
                <c:pt idx="2248">
                  <c:v>0</c:v>
                </c:pt>
                <c:pt idx="2249">
                  <c:v>0</c:v>
                </c:pt>
                <c:pt idx="2250">
                  <c:v>0</c:v>
                </c:pt>
                <c:pt idx="2251">
                  <c:v>0</c:v>
                </c:pt>
                <c:pt idx="2252">
                  <c:v>0</c:v>
                </c:pt>
                <c:pt idx="2253">
                  <c:v>0</c:v>
                </c:pt>
                <c:pt idx="2254">
                  <c:v>0</c:v>
                </c:pt>
                <c:pt idx="2255">
                  <c:v>0</c:v>
                </c:pt>
                <c:pt idx="2256">
                  <c:v>0</c:v>
                </c:pt>
                <c:pt idx="2257">
                  <c:v>0</c:v>
                </c:pt>
                <c:pt idx="2258">
                  <c:v>0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0</c:v>
                </c:pt>
                <c:pt idx="2315">
                  <c:v>0</c:v>
                </c:pt>
                <c:pt idx="2316">
                  <c:v>0</c:v>
                </c:pt>
                <c:pt idx="2317">
                  <c:v>0</c:v>
                </c:pt>
                <c:pt idx="2318">
                  <c:v>0</c:v>
                </c:pt>
                <c:pt idx="2319">
                  <c:v>0</c:v>
                </c:pt>
                <c:pt idx="2320">
                  <c:v>0</c:v>
                </c:pt>
                <c:pt idx="2321">
                  <c:v>0</c:v>
                </c:pt>
                <c:pt idx="2322">
                  <c:v>0</c:v>
                </c:pt>
                <c:pt idx="2323">
                  <c:v>0</c:v>
                </c:pt>
                <c:pt idx="2324">
                  <c:v>0</c:v>
                </c:pt>
                <c:pt idx="2325">
                  <c:v>0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0</c:v>
                </c:pt>
                <c:pt idx="2337">
                  <c:v>0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0BE4-489A-B1C2-891A8AA1669B}"/>
            </c:ext>
          </c:extLst>
        </c:ser>
        <c:ser>
          <c:idx val="4"/>
          <c:order val="6"/>
          <c:tx>
            <c:v>UN R138 MAX SPL</c:v>
          </c:tx>
          <c:spPr>
            <a:ln w="3810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xVal>
            <c:numRef>
              <c:f>'MIN SAFETY'!$O$30:$O$32</c:f>
              <c:numCache>
                <c:formatCode>General</c:formatCode>
                <c:ptCount val="3"/>
                <c:pt idx="0" formatCode="0.0">
                  <c:v>0</c:v>
                </c:pt>
                <c:pt idx="1">
                  <c:v>10</c:v>
                </c:pt>
                <c:pt idx="2">
                  <c:v>20</c:v>
                </c:pt>
              </c:numCache>
            </c:numRef>
          </c:xVal>
          <c:yVal>
            <c:numRef>
              <c:f>'MIN SAFETY'!$P$30:$P$32</c:f>
              <c:numCache>
                <c:formatCode>General</c:formatCode>
                <c:ptCount val="3"/>
                <c:pt idx="0" formatCode="0.0">
                  <c:v>66</c:v>
                </c:pt>
                <c:pt idx="1">
                  <c:v>66</c:v>
                </c:pt>
                <c:pt idx="2">
                  <c:v>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BE4-489A-B1C2-891A8AA166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6408816"/>
        <c:axId val="43641214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1"/>
                <c:tx>
                  <c:v>CRUISE</c:v>
                </c:tx>
                <c:spPr>
                  <a:ln w="25400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MIN SAFETY'!$C$7:$C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39.07715318164081</c:v>
                      </c:pt>
                      <c:pt idx="1">
                        <c:v>42.312824452710153</c:v>
                      </c:pt>
                      <c:pt idx="2">
                        <c:v>45.639636681975475</c:v>
                      </c:pt>
                      <c:pt idx="3">
                        <c:v>48.303469669506498</c:v>
                      </c:pt>
                      <c:pt idx="4">
                        <c:v>50.512609621468975</c:v>
                      </c:pt>
                      <c:pt idx="5">
                        <c:v>52.402250882171316</c:v>
                      </c:pt>
                      <c:pt idx="6">
                        <c:v>54.056932193540817</c:v>
                      </c:pt>
                      <c:pt idx="7">
                        <c:v>55.531714350332848</c:v>
                      </c:pt>
                      <c:pt idx="8">
                        <c:v>56.864169126186987</c:v>
                      </c:pt>
                      <c:pt idx="9">
                        <c:v>58.081015864890716</c:v>
                      </c:pt>
                      <c:pt idx="10">
                        <c:v>59.201930734866266</c:v>
                      </c:pt>
                      <c:pt idx="11">
                        <c:v>60.24183285088629</c:v>
                      </c:pt>
                      <c:pt idx="12">
                        <c:v>61.212315642826155</c:v>
                      </c:pt>
                      <c:pt idx="13">
                        <c:v>62.122577611321503</c:v>
                      </c:pt>
                      <c:pt idx="14">
                        <c:v>62.980047996840668</c:v>
                      </c:pt>
                      <c:pt idx="15">
                        <c:v>63.790819766503489</c:v>
                      </c:pt>
                      <c:pt idx="16">
                        <c:v>64.559956990352845</c:v>
                      </c:pt>
                      <c:pt idx="17">
                        <c:v>65.291717997536821</c:v>
                      </c:pt>
                      <c:pt idx="18">
                        <c:v>65.989720636628675</c:v>
                      </c:pt>
                      <c:pt idx="19">
                        <c:v>66.65706684062375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0BE4-489A-B1C2-891A8AA1669B}"/>
                  </c:ext>
                </c:extLst>
              </c15:ser>
            </c15:filteredScatterSeries>
            <c15:filteredScatterSeries>
              <c15:ser>
                <c:idx val="9"/>
                <c:order val="2"/>
                <c:tx>
                  <c:v>ACC 5.0 m/s²</c:v>
                </c:tx>
                <c:spPr>
                  <a:ln w="2540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7:$M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3.419243045860078</c:v>
                      </c:pt>
                      <c:pt idx="1">
                        <c:v>54.666026131391135</c:v>
                      </c:pt>
                      <c:pt idx="2">
                        <c:v>56.080086462829186</c:v>
                      </c:pt>
                      <c:pt idx="3">
                        <c:v>57.363550882214952</c:v>
                      </c:pt>
                      <c:pt idx="4">
                        <c:v>58.53996996273419</c:v>
                      </c:pt>
                      <c:pt idx="5">
                        <c:v>59.626901169764963</c:v>
                      </c:pt>
                      <c:pt idx="6">
                        <c:v>60.637795358209623</c:v>
                      </c:pt>
                      <c:pt idx="7">
                        <c:v>61.583196627979873</c:v>
                      </c:pt>
                      <c:pt idx="8">
                        <c:v>62.471533393842613</c:v>
                      </c:pt>
                      <c:pt idx="9">
                        <c:v>63.309656623959199</c:v>
                      </c:pt>
                      <c:pt idx="10">
                        <c:v>64.103216287046052</c:v>
                      </c:pt>
                      <c:pt idx="11">
                        <c:v>64.85693109127601</c:v>
                      </c:pt>
                      <c:pt idx="12">
                        <c:v>65.574785933347613</c:v>
                      </c:pt>
                      <c:pt idx="13">
                        <c:v>66.260179193427831</c:v>
                      </c:pt>
                      <c:pt idx="14">
                        <c:v>66.916034485179637</c:v>
                      </c:pt>
                      <c:pt idx="15">
                        <c:v>67.544886729380977</c:v>
                      </c:pt>
                      <c:pt idx="16">
                        <c:v>68.148949358401765</c:v>
                      </c:pt>
                      <c:pt idx="17">
                        <c:v>68.730167436997988</c:v>
                      </c:pt>
                      <c:pt idx="18">
                        <c:v>69.290260121947313</c:v>
                      </c:pt>
                      <c:pt idx="19">
                        <c:v>69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0BE4-489A-B1C2-891A8AA1669B}"/>
                  </c:ext>
                </c:extLst>
              </c15:ser>
            </c15:filteredScatterSeries>
            <c15:filteredScatterSeries>
              <c15:ser>
                <c:idx val="1"/>
                <c:order val="3"/>
                <c:tx>
                  <c:v>CRUISE incl Margin</c:v>
                </c:tx>
                <c:spPr>
                  <a:ln w="25400" cap="rnd">
                    <a:solidFill>
                      <a:srgbClr val="00B050"/>
                    </a:solidFill>
                    <a:prstDash val="solid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C$33:$C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45.07715318164081</c:v>
                      </c:pt>
                      <c:pt idx="1">
                        <c:v>48.312824452710153</c:v>
                      </c:pt>
                      <c:pt idx="2">
                        <c:v>51.639636681975475</c:v>
                      </c:pt>
                      <c:pt idx="3">
                        <c:v>54.303469669506498</c:v>
                      </c:pt>
                      <c:pt idx="4">
                        <c:v>56.512609621468975</c:v>
                      </c:pt>
                      <c:pt idx="5">
                        <c:v>58.402250882171316</c:v>
                      </c:pt>
                      <c:pt idx="6">
                        <c:v>60.056932193540817</c:v>
                      </c:pt>
                      <c:pt idx="7">
                        <c:v>61.531714350332848</c:v>
                      </c:pt>
                      <c:pt idx="8">
                        <c:v>62.864169126186987</c:v>
                      </c:pt>
                      <c:pt idx="9">
                        <c:v>64.081015864890716</c:v>
                      </c:pt>
                      <c:pt idx="10">
                        <c:v>65.201930734866266</c:v>
                      </c:pt>
                      <c:pt idx="11">
                        <c:v>66.241832850886283</c:v>
                      </c:pt>
                      <c:pt idx="12">
                        <c:v>67.212315642826155</c:v>
                      </c:pt>
                      <c:pt idx="13">
                        <c:v>68.122577611321503</c:v>
                      </c:pt>
                      <c:pt idx="14">
                        <c:v>68.980047996840668</c:v>
                      </c:pt>
                      <c:pt idx="15">
                        <c:v>69.790819766503489</c:v>
                      </c:pt>
                      <c:pt idx="16">
                        <c:v>70.559956990352845</c:v>
                      </c:pt>
                      <c:pt idx="17">
                        <c:v>71.291717997536821</c:v>
                      </c:pt>
                      <c:pt idx="18">
                        <c:v>71.989720636628675</c:v>
                      </c:pt>
                      <c:pt idx="19">
                        <c:v>72.65706684062375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0BE4-489A-B1C2-891A8AA1669B}"/>
                  </c:ext>
                </c:extLst>
              </c15:ser>
            </c15:filteredScatterSeries>
            <c15:filteredScatterSeries>
              <c15:ser>
                <c:idx val="2"/>
                <c:order val="4"/>
                <c:tx>
                  <c:v>ACC 5.0 m/s² incl Margin</c:v>
                </c:tx>
                <c:spPr>
                  <a:ln w="25400" cap="rnd">
                    <a:solidFill>
                      <a:srgbClr val="00B05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33:$M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9.419243045860078</c:v>
                      </c:pt>
                      <c:pt idx="1">
                        <c:v>60.666026131391135</c:v>
                      </c:pt>
                      <c:pt idx="2">
                        <c:v>62.080086462829186</c:v>
                      </c:pt>
                      <c:pt idx="3">
                        <c:v>63.363550882214952</c:v>
                      </c:pt>
                      <c:pt idx="4">
                        <c:v>64.53996996273419</c:v>
                      </c:pt>
                      <c:pt idx="5">
                        <c:v>65.626901169764963</c:v>
                      </c:pt>
                      <c:pt idx="6">
                        <c:v>66.637795358209615</c:v>
                      </c:pt>
                      <c:pt idx="7">
                        <c:v>67.583196627979873</c:v>
                      </c:pt>
                      <c:pt idx="8">
                        <c:v>68.471533393842606</c:v>
                      </c:pt>
                      <c:pt idx="9">
                        <c:v>69.309656623959199</c:v>
                      </c:pt>
                      <c:pt idx="10">
                        <c:v>70.103216287046052</c:v>
                      </c:pt>
                      <c:pt idx="11">
                        <c:v>70.85693109127601</c:v>
                      </c:pt>
                      <c:pt idx="12">
                        <c:v>71.574785933347613</c:v>
                      </c:pt>
                      <c:pt idx="13">
                        <c:v>72.260179193427831</c:v>
                      </c:pt>
                      <c:pt idx="14">
                        <c:v>72.916034485179637</c:v>
                      </c:pt>
                      <c:pt idx="15">
                        <c:v>73.544886729380977</c:v>
                      </c:pt>
                      <c:pt idx="16">
                        <c:v>74.148949358401765</c:v>
                      </c:pt>
                      <c:pt idx="17">
                        <c:v>74.730167436997988</c:v>
                      </c:pt>
                      <c:pt idx="18">
                        <c:v>75.290260121947313</c:v>
                      </c:pt>
                      <c:pt idx="19">
                        <c:v>75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0BE4-489A-B1C2-891A8AA1669B}"/>
                  </c:ext>
                </c:extLst>
              </c15:ser>
            </c15:filteredScatterSeries>
            <c15:filteredScatterSeries>
              <c15:ser>
                <c:idx val="6"/>
                <c:order val="5"/>
                <c:tx>
                  <c:v>Draft UN R138.02 Max Sound</c:v>
                </c:tx>
                <c:spPr>
                  <a:ln w="31750" cap="rnd">
                    <a:solidFill>
                      <a:srgbClr val="00B0F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G$13:$AG$2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</c:v>
                      </c:pt>
                      <c:pt idx="1">
                        <c:v>10</c:v>
                      </c:pt>
                      <c:pt idx="2">
                        <c:v>20</c:v>
                      </c:pt>
                      <c:pt idx="3">
                        <c:v>30</c:v>
                      </c:pt>
                      <c:pt idx="4">
                        <c:v>32</c:v>
                      </c:pt>
                      <c:pt idx="5">
                        <c:v>40</c:v>
                      </c:pt>
                      <c:pt idx="6">
                        <c:v>50</c:v>
                      </c:pt>
                      <c:pt idx="7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H$13:$AH$2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66</c:v>
                      </c:pt>
                      <c:pt idx="1">
                        <c:v>66</c:v>
                      </c:pt>
                      <c:pt idx="2">
                        <c:v>66</c:v>
                      </c:pt>
                      <c:pt idx="3">
                        <c:v>66</c:v>
                      </c:pt>
                      <c:pt idx="4">
                        <c:v>66</c:v>
                      </c:pt>
                      <c:pt idx="5">
                        <c:v>57.56</c:v>
                      </c:pt>
                      <c:pt idx="6">
                        <c:v>47</c:v>
                      </c:pt>
                      <c:pt idx="7">
                        <c:v>0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0BE4-489A-B1C2-891A8AA1669B}"/>
                  </c:ext>
                </c:extLst>
              </c15:ser>
            </c15:filteredScatterSeries>
          </c:ext>
        </c:extLst>
      </c:scatterChart>
      <c:valAx>
        <c:axId val="436408816"/>
        <c:scaling>
          <c:orientation val="minMax"/>
          <c:max val="1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dirty="0"/>
                  <a:t>Vehicle Speed [km/h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12144"/>
        <c:crosses val="autoZero"/>
        <c:crossBetween val="midCat"/>
      </c:valAx>
      <c:valAx>
        <c:axId val="436412144"/>
        <c:scaling>
          <c:orientation val="minMax"/>
          <c:max val="110"/>
          <c:min val="4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dirty="0"/>
                  <a:t>Sound Pressure Level [dB(A)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0881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 err="1"/>
              <a:t>Matching</a:t>
            </a:r>
            <a:r>
              <a:rPr lang="de-DE" dirty="0"/>
              <a:t> UN R138 </a:t>
            </a:r>
            <a:r>
              <a:rPr lang="de-DE" dirty="0" err="1"/>
              <a:t>with</a:t>
            </a:r>
            <a:r>
              <a:rPr lang="de-DE" dirty="0"/>
              <a:t> UN R51.03 ASEP</a:t>
            </a:r>
          </a:p>
        </c:rich>
      </c:tx>
      <c:layout>
        <c:manualLayout>
          <c:xMode val="edge"/>
          <c:yMode val="edge"/>
          <c:x val="0.32702869496855347"/>
          <c:y val="3.05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8068948412698416E-2"/>
          <c:y val="0.10240172078092773"/>
          <c:w val="0.89658144841269838"/>
          <c:h val="0.79557794796631254"/>
        </c:manualLayout>
      </c:layout>
      <c:scatterChart>
        <c:scatterStyle val="lineMarker"/>
        <c:varyColors val="0"/>
        <c:ser>
          <c:idx val="4"/>
          <c:order val="6"/>
          <c:tx>
            <c:v>UN R138 MAX SPL</c:v>
          </c:tx>
          <c:spPr>
            <a:ln w="3810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trendline>
            <c:name>UN R138 NEW MAX SPL</c:name>
            <c:spPr>
              <a:ln w="38100" cap="rnd">
                <a:solidFill>
                  <a:srgbClr val="00B0F0"/>
                </a:solidFill>
                <a:prstDash val="sysDash"/>
              </a:ln>
              <a:effectLst/>
            </c:spPr>
            <c:trendlineType val="linear"/>
            <c:forward val="30"/>
            <c:dispRSqr val="0"/>
            <c:dispEq val="0"/>
          </c:trendline>
          <c:xVal>
            <c:numRef>
              <c:f>'MIN SAFETY'!$O$30:$O$32</c:f>
              <c:numCache>
                <c:formatCode>General</c:formatCode>
                <c:ptCount val="3"/>
                <c:pt idx="0" formatCode="0.0">
                  <c:v>0</c:v>
                </c:pt>
                <c:pt idx="1">
                  <c:v>10</c:v>
                </c:pt>
                <c:pt idx="2">
                  <c:v>20</c:v>
                </c:pt>
              </c:numCache>
            </c:numRef>
          </c:xVal>
          <c:yVal>
            <c:numRef>
              <c:f>'MIN SAFETY'!$P$30:$P$32</c:f>
              <c:numCache>
                <c:formatCode>General</c:formatCode>
                <c:ptCount val="3"/>
                <c:pt idx="0" formatCode="0.0">
                  <c:v>66</c:v>
                </c:pt>
                <c:pt idx="1">
                  <c:v>66</c:v>
                </c:pt>
                <c:pt idx="2">
                  <c:v>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C36-491D-9064-745570F9D1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6408816"/>
        <c:axId val="43641214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v>CRUISE</c:v>
                </c:tx>
                <c:spPr>
                  <a:ln w="25400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MIN SAFETY'!$C$7:$C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39.07715318164081</c:v>
                      </c:pt>
                      <c:pt idx="1">
                        <c:v>42.312824452710153</c:v>
                      </c:pt>
                      <c:pt idx="2">
                        <c:v>45.639636681975475</c:v>
                      </c:pt>
                      <c:pt idx="3">
                        <c:v>48.303469669506498</c:v>
                      </c:pt>
                      <c:pt idx="4">
                        <c:v>50.512609621468975</c:v>
                      </c:pt>
                      <c:pt idx="5">
                        <c:v>52.402250882171316</c:v>
                      </c:pt>
                      <c:pt idx="6">
                        <c:v>54.056932193540817</c:v>
                      </c:pt>
                      <c:pt idx="7">
                        <c:v>55.531714350332848</c:v>
                      </c:pt>
                      <c:pt idx="8">
                        <c:v>56.864169126186987</c:v>
                      </c:pt>
                      <c:pt idx="9">
                        <c:v>58.081015864890716</c:v>
                      </c:pt>
                      <c:pt idx="10">
                        <c:v>59.201930734866266</c:v>
                      </c:pt>
                      <c:pt idx="11">
                        <c:v>60.24183285088629</c:v>
                      </c:pt>
                      <c:pt idx="12">
                        <c:v>61.212315642826155</c:v>
                      </c:pt>
                      <c:pt idx="13">
                        <c:v>62.122577611321503</c:v>
                      </c:pt>
                      <c:pt idx="14">
                        <c:v>62.980047996840668</c:v>
                      </c:pt>
                      <c:pt idx="15">
                        <c:v>63.790819766503489</c:v>
                      </c:pt>
                      <c:pt idx="16">
                        <c:v>64.559956990352845</c:v>
                      </c:pt>
                      <c:pt idx="17">
                        <c:v>65.291717997536821</c:v>
                      </c:pt>
                      <c:pt idx="18">
                        <c:v>65.989720636628675</c:v>
                      </c:pt>
                      <c:pt idx="19">
                        <c:v>66.65706684062375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1-7C36-491D-9064-745570F9D103}"/>
                  </c:ext>
                </c:extLst>
              </c15:ser>
            </c15:filteredScatterSeries>
            <c15:filteredScatterSeries>
              <c15:ser>
                <c:idx val="9"/>
                <c:order val="1"/>
                <c:tx>
                  <c:v>ACC 5.0 m/s²</c:v>
                </c:tx>
                <c:spPr>
                  <a:ln w="2540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7:$M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3.419243045860078</c:v>
                      </c:pt>
                      <c:pt idx="1">
                        <c:v>54.666026131391135</c:v>
                      </c:pt>
                      <c:pt idx="2">
                        <c:v>56.080086462829186</c:v>
                      </c:pt>
                      <c:pt idx="3">
                        <c:v>57.363550882214952</c:v>
                      </c:pt>
                      <c:pt idx="4">
                        <c:v>58.53996996273419</c:v>
                      </c:pt>
                      <c:pt idx="5">
                        <c:v>59.626901169764963</c:v>
                      </c:pt>
                      <c:pt idx="6">
                        <c:v>60.637795358209623</c:v>
                      </c:pt>
                      <c:pt idx="7">
                        <c:v>61.583196627979873</c:v>
                      </c:pt>
                      <c:pt idx="8">
                        <c:v>62.471533393842613</c:v>
                      </c:pt>
                      <c:pt idx="9">
                        <c:v>63.309656623959199</c:v>
                      </c:pt>
                      <c:pt idx="10">
                        <c:v>64.103216287046052</c:v>
                      </c:pt>
                      <c:pt idx="11">
                        <c:v>64.85693109127601</c:v>
                      </c:pt>
                      <c:pt idx="12">
                        <c:v>65.574785933347613</c:v>
                      </c:pt>
                      <c:pt idx="13">
                        <c:v>66.260179193427831</c:v>
                      </c:pt>
                      <c:pt idx="14">
                        <c:v>66.916034485179637</c:v>
                      </c:pt>
                      <c:pt idx="15">
                        <c:v>67.544886729380977</c:v>
                      </c:pt>
                      <c:pt idx="16">
                        <c:v>68.148949358401765</c:v>
                      </c:pt>
                      <c:pt idx="17">
                        <c:v>68.730167436997988</c:v>
                      </c:pt>
                      <c:pt idx="18">
                        <c:v>69.290260121947313</c:v>
                      </c:pt>
                      <c:pt idx="19">
                        <c:v>69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7C36-491D-9064-745570F9D103}"/>
                  </c:ext>
                </c:extLst>
              </c15:ser>
            </c15:filteredScatterSeries>
            <c15:filteredScatterSeries>
              <c15:ser>
                <c:idx val="1"/>
                <c:order val="2"/>
                <c:tx>
                  <c:v>CRUISE incl Margin</c:v>
                </c:tx>
                <c:spPr>
                  <a:ln w="25400" cap="rnd">
                    <a:solidFill>
                      <a:srgbClr val="00B050"/>
                    </a:solidFill>
                    <a:prstDash val="solid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C$33:$C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45.07715318164081</c:v>
                      </c:pt>
                      <c:pt idx="1">
                        <c:v>48.312824452710153</c:v>
                      </c:pt>
                      <c:pt idx="2">
                        <c:v>51.639636681975475</c:v>
                      </c:pt>
                      <c:pt idx="3">
                        <c:v>54.303469669506498</c:v>
                      </c:pt>
                      <c:pt idx="4">
                        <c:v>56.512609621468975</c:v>
                      </c:pt>
                      <c:pt idx="5">
                        <c:v>58.402250882171316</c:v>
                      </c:pt>
                      <c:pt idx="6">
                        <c:v>60.056932193540817</c:v>
                      </c:pt>
                      <c:pt idx="7">
                        <c:v>61.531714350332848</c:v>
                      </c:pt>
                      <c:pt idx="8">
                        <c:v>62.864169126186987</c:v>
                      </c:pt>
                      <c:pt idx="9">
                        <c:v>64.081015864890716</c:v>
                      </c:pt>
                      <c:pt idx="10">
                        <c:v>65.201930734866266</c:v>
                      </c:pt>
                      <c:pt idx="11">
                        <c:v>66.241832850886283</c:v>
                      </c:pt>
                      <c:pt idx="12">
                        <c:v>67.212315642826155</c:v>
                      </c:pt>
                      <c:pt idx="13">
                        <c:v>68.122577611321503</c:v>
                      </c:pt>
                      <c:pt idx="14">
                        <c:v>68.980047996840668</c:v>
                      </c:pt>
                      <c:pt idx="15">
                        <c:v>69.790819766503489</c:v>
                      </c:pt>
                      <c:pt idx="16">
                        <c:v>70.559956990352845</c:v>
                      </c:pt>
                      <c:pt idx="17">
                        <c:v>71.291717997536821</c:v>
                      </c:pt>
                      <c:pt idx="18">
                        <c:v>71.989720636628675</c:v>
                      </c:pt>
                      <c:pt idx="19">
                        <c:v>72.65706684062375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7C36-491D-9064-745570F9D103}"/>
                  </c:ext>
                </c:extLst>
              </c15:ser>
            </c15:filteredScatterSeries>
            <c15:filteredScatterSeries>
              <c15:ser>
                <c:idx val="2"/>
                <c:order val="3"/>
                <c:tx>
                  <c:v>ACC 5.0 m/s² incl Margin</c:v>
                </c:tx>
                <c:spPr>
                  <a:ln w="25400" cap="rnd">
                    <a:solidFill>
                      <a:srgbClr val="00B05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33:$M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9.419243045860078</c:v>
                      </c:pt>
                      <c:pt idx="1">
                        <c:v>60.666026131391135</c:v>
                      </c:pt>
                      <c:pt idx="2">
                        <c:v>62.080086462829186</c:v>
                      </c:pt>
                      <c:pt idx="3">
                        <c:v>63.363550882214952</c:v>
                      </c:pt>
                      <c:pt idx="4">
                        <c:v>64.53996996273419</c:v>
                      </c:pt>
                      <c:pt idx="5">
                        <c:v>65.626901169764963</c:v>
                      </c:pt>
                      <c:pt idx="6">
                        <c:v>66.637795358209615</c:v>
                      </c:pt>
                      <c:pt idx="7">
                        <c:v>67.583196627979873</c:v>
                      </c:pt>
                      <c:pt idx="8">
                        <c:v>68.471533393842606</c:v>
                      </c:pt>
                      <c:pt idx="9">
                        <c:v>69.309656623959199</c:v>
                      </c:pt>
                      <c:pt idx="10">
                        <c:v>70.103216287046052</c:v>
                      </c:pt>
                      <c:pt idx="11">
                        <c:v>70.85693109127601</c:v>
                      </c:pt>
                      <c:pt idx="12">
                        <c:v>71.574785933347613</c:v>
                      </c:pt>
                      <c:pt idx="13">
                        <c:v>72.260179193427831</c:v>
                      </c:pt>
                      <c:pt idx="14">
                        <c:v>72.916034485179637</c:v>
                      </c:pt>
                      <c:pt idx="15">
                        <c:v>73.544886729380977</c:v>
                      </c:pt>
                      <c:pt idx="16">
                        <c:v>74.148949358401765</c:v>
                      </c:pt>
                      <c:pt idx="17">
                        <c:v>74.730167436997988</c:v>
                      </c:pt>
                      <c:pt idx="18">
                        <c:v>75.290260121947313</c:v>
                      </c:pt>
                      <c:pt idx="19">
                        <c:v>75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7C36-491D-9064-745570F9D103}"/>
                  </c:ext>
                </c:extLst>
              </c15:ser>
            </c15:filteredScatterSeries>
            <c15:filteredScatterSeries>
              <c15:ser>
                <c:idx val="3"/>
                <c:order val="4"/>
                <c:tx>
                  <c:v>ASEP BORDER</c:v>
                </c:tx>
                <c:spPr>
                  <a:ln w="3175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10:$Z$16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50</c:v>
                      </c:pt>
                      <c:pt idx="1">
                        <c:v>54.33</c:v>
                      </c:pt>
                      <c:pt idx="2">
                        <c:v>60</c:v>
                      </c:pt>
                      <c:pt idx="3">
                        <c:v>65</c:v>
                      </c:pt>
                      <c:pt idx="4">
                        <c:v>70</c:v>
                      </c:pt>
                      <c:pt idx="5">
                        <c:v>75</c:v>
                      </c:pt>
                      <c:pt idx="6">
                        <c:v>8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10:$AC$16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72.475000000000009</c:v>
                      </c:pt>
                      <c:pt idx="1">
                        <c:v>73.2</c:v>
                      </c:pt>
                      <c:pt idx="2">
                        <c:v>74.522999999999996</c:v>
                      </c:pt>
                      <c:pt idx="3">
                        <c:v>75.685000000000002</c:v>
                      </c:pt>
                      <c:pt idx="4">
                        <c:v>76.853999999999999</c:v>
                      </c:pt>
                      <c:pt idx="5">
                        <c:v>78.022999999999996</c:v>
                      </c:pt>
                      <c:pt idx="6">
                        <c:v>79.185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7C36-491D-9064-745570F9D103}"/>
                  </c:ext>
                </c:extLst>
              </c15:ser>
            </c15:filteredScatterSeries>
            <c15:filteredScatterSeries>
              <c15:ser>
                <c:idx val="6"/>
                <c:order val="5"/>
                <c:tx>
                  <c:v>Draft UN R138.02 Max Sound</c:v>
                </c:tx>
                <c:spPr>
                  <a:ln w="31750" cap="rnd">
                    <a:solidFill>
                      <a:srgbClr val="00B0F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F$13:$AF$2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</c:v>
                      </c:pt>
                      <c:pt idx="1">
                        <c:v>10</c:v>
                      </c:pt>
                      <c:pt idx="2">
                        <c:v>20</c:v>
                      </c:pt>
                      <c:pt idx="3">
                        <c:v>30</c:v>
                      </c:pt>
                      <c:pt idx="4">
                        <c:v>32</c:v>
                      </c:pt>
                      <c:pt idx="5">
                        <c:v>40</c:v>
                      </c:pt>
                      <c:pt idx="6">
                        <c:v>50</c:v>
                      </c:pt>
                      <c:pt idx="7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G$13:$AG$2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66</c:v>
                      </c:pt>
                      <c:pt idx="1">
                        <c:v>66</c:v>
                      </c:pt>
                      <c:pt idx="2">
                        <c:v>66</c:v>
                      </c:pt>
                      <c:pt idx="3">
                        <c:v>66</c:v>
                      </c:pt>
                      <c:pt idx="4">
                        <c:v>66</c:v>
                      </c:pt>
                      <c:pt idx="5">
                        <c:v>57.56</c:v>
                      </c:pt>
                      <c:pt idx="6">
                        <c:v>47</c:v>
                      </c:pt>
                      <c:pt idx="7">
                        <c:v>0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7C36-491D-9064-745570F9D103}"/>
                  </c:ext>
                </c:extLst>
              </c15:ser>
            </c15:filteredScatterSeries>
            <c15:filteredScatterSeries>
              <c15:ser>
                <c:idx val="5"/>
                <c:order val="7"/>
                <c:tx>
                  <c:v>Test Data</c:v>
                </c:tx>
                <c:spPr>
                  <a:ln w="19050" cap="rnd">
                    <a:noFill/>
                    <a:round/>
                  </a:ln>
                  <a:effectLst/>
                </c:spPr>
                <c:marker>
                  <c:symbol val="circle"/>
                  <c:size val="10"/>
                  <c:spPr>
                    <a:solidFill>
                      <a:schemeClr val="tx2">
                        <a:lumMod val="20000"/>
                        <a:lumOff val="80000"/>
                      </a:schemeClr>
                    </a:solidFill>
                    <a:ln w="9525">
                      <a:solidFill>
                        <a:schemeClr val="tx2">
                          <a:lumMod val="75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W$5:$W$64</c15:sqref>
                        </c15:formulaRef>
                      </c:ext>
                    </c:extLst>
                    <c:numCache>
                      <c:formatCode>0.0</c:formatCode>
                      <c:ptCount val="60"/>
                      <c:pt idx="0">
                        <c:v>33.5</c:v>
                      </c:pt>
                      <c:pt idx="1">
                        <c:v>37.200000000000003</c:v>
                      </c:pt>
                      <c:pt idx="2">
                        <c:v>42.4</c:v>
                      </c:pt>
                      <c:pt idx="3">
                        <c:v>48.6</c:v>
                      </c:pt>
                      <c:pt idx="4">
                        <c:v>57.1</c:v>
                      </c:pt>
                      <c:pt idx="5">
                        <c:v>65.099999999999994</c:v>
                      </c:pt>
                      <c:pt idx="6">
                        <c:v>74</c:v>
                      </c:pt>
                      <c:pt idx="7">
                        <c:v>83.7</c:v>
                      </c:pt>
                      <c:pt idx="8">
                        <c:v>92</c:v>
                      </c:pt>
                      <c:pt idx="9">
                        <c:v>100</c:v>
                      </c:pt>
                      <c:pt idx="10">
                        <c:v>33.799999999999997</c:v>
                      </c:pt>
                      <c:pt idx="11">
                        <c:v>37.200000000000003</c:v>
                      </c:pt>
                      <c:pt idx="12">
                        <c:v>41.8</c:v>
                      </c:pt>
                      <c:pt idx="13">
                        <c:v>49.3</c:v>
                      </c:pt>
                      <c:pt idx="14">
                        <c:v>55.9</c:v>
                      </c:pt>
                      <c:pt idx="15">
                        <c:v>64.5</c:v>
                      </c:pt>
                      <c:pt idx="16">
                        <c:v>73.900000000000006</c:v>
                      </c:pt>
                      <c:pt idx="17">
                        <c:v>82.9</c:v>
                      </c:pt>
                      <c:pt idx="18">
                        <c:v>91.5</c:v>
                      </c:pt>
                      <c:pt idx="19">
                        <c:v>99.4</c:v>
                      </c:pt>
                      <c:pt idx="20">
                        <c:v>53.1</c:v>
                      </c:pt>
                      <c:pt idx="21">
                        <c:v>55.7</c:v>
                      </c:pt>
                      <c:pt idx="22">
                        <c:v>58.5</c:v>
                      </c:pt>
                      <c:pt idx="23">
                        <c:v>63.5</c:v>
                      </c:pt>
                      <c:pt idx="24">
                        <c:v>70.7</c:v>
                      </c:pt>
                      <c:pt idx="25">
                        <c:v>78.8</c:v>
                      </c:pt>
                      <c:pt idx="26">
                        <c:v>85</c:v>
                      </c:pt>
                      <c:pt idx="27">
                        <c:v>91</c:v>
                      </c:pt>
                      <c:pt idx="28">
                        <c:v>92.9</c:v>
                      </c:pt>
                      <c:pt idx="29">
                        <c:v>100.2</c:v>
                      </c:pt>
                      <c:pt idx="30">
                        <c:v>91.2</c:v>
                      </c:pt>
                      <c:pt idx="31">
                        <c:v>84.1</c:v>
                      </c:pt>
                      <c:pt idx="32">
                        <c:v>99.9</c:v>
                      </c:pt>
                      <c:pt idx="33">
                        <c:v>54</c:v>
                      </c:pt>
                      <c:pt idx="34">
                        <c:v>54.4</c:v>
                      </c:pt>
                      <c:pt idx="35">
                        <c:v>54.6</c:v>
                      </c:pt>
                      <c:pt idx="36">
                        <c:v>54.3</c:v>
                      </c:pt>
                      <c:pt idx="37">
                        <c:v>50.1</c:v>
                      </c:pt>
                      <c:pt idx="38">
                        <c:v>49.8</c:v>
                      </c:pt>
                      <c:pt idx="39">
                        <c:v>49.9</c:v>
                      </c:pt>
                      <c:pt idx="40">
                        <c:v>49.7</c:v>
                      </c:pt>
                      <c:pt idx="41">
                        <c:v>10.6</c:v>
                      </c:pt>
                      <c:pt idx="42">
                        <c:v>20.2</c:v>
                      </c:pt>
                      <c:pt idx="43">
                        <c:v>31.2</c:v>
                      </c:pt>
                      <c:pt idx="44">
                        <c:v>30.6</c:v>
                      </c:pt>
                      <c:pt idx="45">
                        <c:v>40.299999999999997</c:v>
                      </c:pt>
                      <c:pt idx="46">
                        <c:v>50.1</c:v>
                      </c:pt>
                      <c:pt idx="47">
                        <c:v>60.4</c:v>
                      </c:pt>
                      <c:pt idx="48">
                        <c:v>70.599999999999994</c:v>
                      </c:pt>
                      <c:pt idx="49">
                        <c:v>79.599999999999994</c:v>
                      </c:pt>
                      <c:pt idx="50">
                        <c:v>90.1</c:v>
                      </c:pt>
                      <c:pt idx="51">
                        <c:v>98.8</c:v>
                      </c:pt>
                      <c:pt idx="52">
                        <c:v>38.4</c:v>
                      </c:pt>
                      <c:pt idx="53">
                        <c:v>66.3</c:v>
                      </c:pt>
                      <c:pt idx="54">
                        <c:v>78</c:v>
                      </c:pt>
                      <c:pt idx="55">
                        <c:v>54.2</c:v>
                      </c:pt>
                      <c:pt idx="56">
                        <c:v>89</c:v>
                      </c:pt>
                      <c:pt idx="57">
                        <c:v>87.3</c:v>
                      </c:pt>
                      <c:pt idx="58">
                        <c:v>88</c:v>
                      </c:pt>
                      <c:pt idx="59">
                        <c:v>87.8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X$5:$X$64</c15:sqref>
                        </c15:formulaRef>
                      </c:ext>
                    </c:extLst>
                    <c:numCache>
                      <c:formatCode>0.0</c:formatCode>
                      <c:ptCount val="60"/>
                      <c:pt idx="0">
                        <c:v>62</c:v>
                      </c:pt>
                      <c:pt idx="1">
                        <c:v>63</c:v>
                      </c:pt>
                      <c:pt idx="2">
                        <c:v>64.2</c:v>
                      </c:pt>
                      <c:pt idx="3">
                        <c:v>65.900000000000006</c:v>
                      </c:pt>
                      <c:pt idx="4">
                        <c:v>68.7</c:v>
                      </c:pt>
                      <c:pt idx="5">
                        <c:v>70.2</c:v>
                      </c:pt>
                      <c:pt idx="6">
                        <c:v>72.5</c:v>
                      </c:pt>
                      <c:pt idx="7">
                        <c:v>74.2</c:v>
                      </c:pt>
                      <c:pt idx="8">
                        <c:v>76.099999999999994</c:v>
                      </c:pt>
                      <c:pt idx="9">
                        <c:v>77.900000000000006</c:v>
                      </c:pt>
                      <c:pt idx="10">
                        <c:v>61.7</c:v>
                      </c:pt>
                      <c:pt idx="11">
                        <c:v>63.1</c:v>
                      </c:pt>
                      <c:pt idx="12">
                        <c:v>63</c:v>
                      </c:pt>
                      <c:pt idx="13">
                        <c:v>65.5</c:v>
                      </c:pt>
                      <c:pt idx="14">
                        <c:v>67.2</c:v>
                      </c:pt>
                      <c:pt idx="15">
                        <c:v>69.599999999999994</c:v>
                      </c:pt>
                      <c:pt idx="16">
                        <c:v>71.5</c:v>
                      </c:pt>
                      <c:pt idx="17">
                        <c:v>74.2</c:v>
                      </c:pt>
                      <c:pt idx="18">
                        <c:v>75.7</c:v>
                      </c:pt>
                      <c:pt idx="19">
                        <c:v>77.5</c:v>
                      </c:pt>
                      <c:pt idx="20">
                        <c:v>70.099999999999994</c:v>
                      </c:pt>
                      <c:pt idx="21">
                        <c:v>70.599999999999994</c:v>
                      </c:pt>
                      <c:pt idx="22">
                        <c:v>70.7</c:v>
                      </c:pt>
                      <c:pt idx="23">
                        <c:v>72.2</c:v>
                      </c:pt>
                      <c:pt idx="24">
                        <c:v>73.3</c:v>
                      </c:pt>
                      <c:pt idx="25">
                        <c:v>75.599999999999994</c:v>
                      </c:pt>
                      <c:pt idx="26">
                        <c:v>76.3</c:v>
                      </c:pt>
                      <c:pt idx="27">
                        <c:v>77.7</c:v>
                      </c:pt>
                      <c:pt idx="28">
                        <c:v>77.2</c:v>
                      </c:pt>
                      <c:pt idx="29">
                        <c:v>79.2</c:v>
                      </c:pt>
                      <c:pt idx="30">
                        <c:v>76.900000000000006</c:v>
                      </c:pt>
                      <c:pt idx="31">
                        <c:v>76.599999999999994</c:v>
                      </c:pt>
                      <c:pt idx="32">
                        <c:v>78.400000000000006</c:v>
                      </c:pt>
                      <c:pt idx="33">
                        <c:v>67.8</c:v>
                      </c:pt>
                      <c:pt idx="34">
                        <c:v>68</c:v>
                      </c:pt>
                      <c:pt idx="35">
                        <c:v>67.8</c:v>
                      </c:pt>
                      <c:pt idx="36">
                        <c:v>67.8</c:v>
                      </c:pt>
                      <c:pt idx="37">
                        <c:v>66.599999999999994</c:v>
                      </c:pt>
                      <c:pt idx="38">
                        <c:v>67.099999999999994</c:v>
                      </c:pt>
                      <c:pt idx="39">
                        <c:v>66.8</c:v>
                      </c:pt>
                      <c:pt idx="40">
                        <c:v>66.8</c:v>
                      </c:pt>
                      <c:pt idx="41">
                        <c:v>55.8</c:v>
                      </c:pt>
                      <c:pt idx="42">
                        <c:v>58.3</c:v>
                      </c:pt>
                      <c:pt idx="43">
                        <c:v>62</c:v>
                      </c:pt>
                      <c:pt idx="44">
                        <c:v>62</c:v>
                      </c:pt>
                      <c:pt idx="45">
                        <c:v>63.9</c:v>
                      </c:pt>
                      <c:pt idx="46">
                        <c:v>66.900000000000006</c:v>
                      </c:pt>
                      <c:pt idx="47">
                        <c:v>69.099999999999994</c:v>
                      </c:pt>
                      <c:pt idx="48">
                        <c:v>71.599999999999994</c:v>
                      </c:pt>
                      <c:pt idx="49">
                        <c:v>73.7</c:v>
                      </c:pt>
                      <c:pt idx="50">
                        <c:v>75.599999999999994</c:v>
                      </c:pt>
                      <c:pt idx="51">
                        <c:v>77.599999999999994</c:v>
                      </c:pt>
                      <c:pt idx="52">
                        <c:v>63.3</c:v>
                      </c:pt>
                      <c:pt idx="53">
                        <c:v>70.2</c:v>
                      </c:pt>
                      <c:pt idx="54">
                        <c:v>72.7</c:v>
                      </c:pt>
                      <c:pt idx="55">
                        <c:v>67.400000000000006</c:v>
                      </c:pt>
                      <c:pt idx="56">
                        <c:v>78.599999999999994</c:v>
                      </c:pt>
                      <c:pt idx="57">
                        <c:v>77.8</c:v>
                      </c:pt>
                      <c:pt idx="58">
                        <c:v>77.900000000000006</c:v>
                      </c:pt>
                      <c:pt idx="59">
                        <c:v>78.09999999999999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7C36-491D-9064-745570F9D103}"/>
                  </c:ext>
                </c:extLst>
              </c15:ser>
            </c15:filteredScatterSeries>
            <c15:filteredScatterSeries>
              <c15:ser>
                <c:idx val="7"/>
                <c:order val="8"/>
                <c:tx>
                  <c:v>ASEP BORDER &lt; 50 km/h</c:v>
                </c:tx>
                <c:spPr>
                  <a:ln w="28575" cap="rnd">
                    <a:solidFill>
                      <a:schemeClr val="tx1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4:$Z$10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</c:v>
                      </c:pt>
                      <c:pt idx="1">
                        <c:v>25</c:v>
                      </c:pt>
                      <c:pt idx="2">
                        <c:v>30</c:v>
                      </c:pt>
                      <c:pt idx="3">
                        <c:v>35</c:v>
                      </c:pt>
                      <c:pt idx="4">
                        <c:v>40</c:v>
                      </c:pt>
                      <c:pt idx="5">
                        <c:v>45</c:v>
                      </c:pt>
                      <c:pt idx="6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4:$AC$10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67.475000000000009</c:v>
                      </c:pt>
                      <c:pt idx="1">
                        <c:v>68.31</c:v>
                      </c:pt>
                      <c:pt idx="2">
                        <c:v>69.14500000000001</c:v>
                      </c:pt>
                      <c:pt idx="3">
                        <c:v>69.975000000000009</c:v>
                      </c:pt>
                      <c:pt idx="4">
                        <c:v>70.81</c:v>
                      </c:pt>
                      <c:pt idx="5">
                        <c:v>71.644999999999996</c:v>
                      </c:pt>
                      <c:pt idx="6">
                        <c:v>72.4750000000000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7C36-491D-9064-745570F9D103}"/>
                  </c:ext>
                </c:extLst>
              </c15:ser>
            </c15:filteredScatterSeries>
          </c:ext>
        </c:extLst>
      </c:scatterChart>
      <c:valAx>
        <c:axId val="436408816"/>
        <c:scaling>
          <c:orientation val="minMax"/>
          <c:max val="1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Vehicle Speed [km/h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12144"/>
        <c:crosses val="autoZero"/>
        <c:crossBetween val="midCat"/>
      </c:valAx>
      <c:valAx>
        <c:axId val="436412144"/>
        <c:scaling>
          <c:orientation val="minMax"/>
          <c:max val="110"/>
          <c:min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Sound Pressure Level [dB(A)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0881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6537103174603183E-2"/>
          <c:y val="0.12463794585727403"/>
          <c:w val="0.26604503968253967"/>
          <c:h val="0.17899722222222222"/>
        </c:manualLayout>
      </c:layout>
      <c:overlay val="0"/>
      <c:spPr>
        <a:solidFill>
          <a:schemeClr val="bg1">
            <a:lumMod val="95000"/>
          </a:schemeClr>
        </a:solidFill>
        <a:ln>
          <a:solidFill>
            <a:schemeClr val="bg1">
              <a:lumMod val="75000"/>
            </a:schemeClr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8068948412698416E-2"/>
          <c:y val="0.10240172078092773"/>
          <c:w val="0.89658144841269838"/>
          <c:h val="0.79557794796631254"/>
        </c:manualLayout>
      </c:layout>
      <c:scatterChart>
        <c:scatterStyle val="lineMarker"/>
        <c:varyColors val="0"/>
        <c:ser>
          <c:idx val="5"/>
          <c:order val="0"/>
          <c:tx>
            <c:v>Test Data</c:v>
          </c:tx>
          <c:spPr>
            <a:ln w="19050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>
                    <a:lumMod val="75000"/>
                  </a:schemeClr>
                </a:solidFill>
              </a:ln>
              <a:effectLst/>
            </c:spPr>
          </c:marker>
          <c:xVal>
            <c:numRef>
              <c:f>'ASEP 1'!$X$5:$X$3933</c:f>
              <c:numCache>
                <c:formatCode>0.0</c:formatCode>
                <c:ptCount val="3929"/>
                <c:pt idx="0">
                  <c:v>43.7</c:v>
                </c:pt>
                <c:pt idx="1">
                  <c:v>46.6</c:v>
                </c:pt>
                <c:pt idx="2">
                  <c:v>60.9</c:v>
                </c:pt>
                <c:pt idx="3">
                  <c:v>70</c:v>
                </c:pt>
                <c:pt idx="4">
                  <c:v>78.7</c:v>
                </c:pt>
                <c:pt idx="5">
                  <c:v>88.5</c:v>
                </c:pt>
                <c:pt idx="6">
                  <c:v>54</c:v>
                </c:pt>
                <c:pt idx="7">
                  <c:v>38.299999999999997</c:v>
                </c:pt>
                <c:pt idx="8">
                  <c:v>53.1</c:v>
                </c:pt>
                <c:pt idx="9">
                  <c:v>68.7</c:v>
                </c:pt>
                <c:pt idx="10">
                  <c:v>10.6</c:v>
                </c:pt>
                <c:pt idx="11">
                  <c:v>5.2</c:v>
                </c:pt>
                <c:pt idx="12">
                  <c:v>10.9</c:v>
                </c:pt>
                <c:pt idx="13">
                  <c:v>15.2</c:v>
                </c:pt>
                <c:pt idx="14">
                  <c:v>20.6</c:v>
                </c:pt>
                <c:pt idx="15">
                  <c:v>31.2</c:v>
                </c:pt>
                <c:pt idx="16">
                  <c:v>40.200000000000003</c:v>
                </c:pt>
                <c:pt idx="17">
                  <c:v>60.4</c:v>
                </c:pt>
                <c:pt idx="18">
                  <c:v>70.8</c:v>
                </c:pt>
                <c:pt idx="19">
                  <c:v>80.099999999999994</c:v>
                </c:pt>
                <c:pt idx="20">
                  <c:v>48.9</c:v>
                </c:pt>
                <c:pt idx="21">
                  <c:v>14.5</c:v>
                </c:pt>
                <c:pt idx="22">
                  <c:v>8.1999999999999993</c:v>
                </c:pt>
                <c:pt idx="23">
                  <c:v>5.5</c:v>
                </c:pt>
                <c:pt idx="24">
                  <c:v>38.799999999999997</c:v>
                </c:pt>
                <c:pt idx="25">
                  <c:v>40.4</c:v>
                </c:pt>
                <c:pt idx="26">
                  <c:v>46</c:v>
                </c:pt>
                <c:pt idx="27">
                  <c:v>51.7</c:v>
                </c:pt>
                <c:pt idx="28">
                  <c:v>58.8</c:v>
                </c:pt>
                <c:pt idx="29">
                  <c:v>69.5</c:v>
                </c:pt>
                <c:pt idx="30">
                  <c:v>77.3</c:v>
                </c:pt>
                <c:pt idx="31">
                  <c:v>50.9</c:v>
                </c:pt>
                <c:pt idx="32">
                  <c:v>56.6</c:v>
                </c:pt>
                <c:pt idx="33">
                  <c:v>66.5</c:v>
                </c:pt>
                <c:pt idx="34">
                  <c:v>72.7</c:v>
                </c:pt>
                <c:pt idx="35">
                  <c:v>8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38.9</c:v>
                </c:pt>
                <c:pt idx="101">
                  <c:v>40.6</c:v>
                </c:pt>
                <c:pt idx="102">
                  <c:v>44.9</c:v>
                </c:pt>
                <c:pt idx="103">
                  <c:v>51.8</c:v>
                </c:pt>
                <c:pt idx="104">
                  <c:v>60.7</c:v>
                </c:pt>
                <c:pt idx="105">
                  <c:v>68.099999999999994</c:v>
                </c:pt>
                <c:pt idx="106">
                  <c:v>76.900000000000006</c:v>
                </c:pt>
                <c:pt idx="107">
                  <c:v>73.8</c:v>
                </c:pt>
                <c:pt idx="108">
                  <c:v>81.2</c:v>
                </c:pt>
                <c:pt idx="109">
                  <c:v>50.7</c:v>
                </c:pt>
                <c:pt idx="110">
                  <c:v>56.7</c:v>
                </c:pt>
                <c:pt idx="111">
                  <c:v>66.099999999999994</c:v>
                </c:pt>
                <c:pt idx="112">
                  <c:v>39.9</c:v>
                </c:pt>
                <c:pt idx="113">
                  <c:v>29.9</c:v>
                </c:pt>
                <c:pt idx="114">
                  <c:v>20.5</c:v>
                </c:pt>
                <c:pt idx="115">
                  <c:v>15.7</c:v>
                </c:pt>
                <c:pt idx="116">
                  <c:v>50.3</c:v>
                </c:pt>
                <c:pt idx="117">
                  <c:v>59.2</c:v>
                </c:pt>
                <c:pt idx="118">
                  <c:v>66.599999999999994</c:v>
                </c:pt>
                <c:pt idx="119">
                  <c:v>77.3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38.6</c:v>
                </c:pt>
                <c:pt idx="301">
                  <c:v>40.799999999999997</c:v>
                </c:pt>
                <c:pt idx="302">
                  <c:v>45.6</c:v>
                </c:pt>
                <c:pt idx="303">
                  <c:v>52.1</c:v>
                </c:pt>
                <c:pt idx="304">
                  <c:v>58.3</c:v>
                </c:pt>
                <c:pt idx="305">
                  <c:v>65.099999999999994</c:v>
                </c:pt>
                <c:pt idx="306">
                  <c:v>73.2</c:v>
                </c:pt>
                <c:pt idx="307">
                  <c:v>74.8</c:v>
                </c:pt>
                <c:pt idx="308">
                  <c:v>74.7</c:v>
                </c:pt>
                <c:pt idx="309">
                  <c:v>52.3</c:v>
                </c:pt>
                <c:pt idx="310">
                  <c:v>54.9</c:v>
                </c:pt>
                <c:pt idx="311">
                  <c:v>58.3</c:v>
                </c:pt>
                <c:pt idx="312">
                  <c:v>62.4</c:v>
                </c:pt>
                <c:pt idx="313">
                  <c:v>68.8</c:v>
                </c:pt>
                <c:pt idx="314">
                  <c:v>75.2</c:v>
                </c:pt>
                <c:pt idx="315">
                  <c:v>81</c:v>
                </c:pt>
                <c:pt idx="316">
                  <c:v>10.8</c:v>
                </c:pt>
                <c:pt idx="317">
                  <c:v>30.5</c:v>
                </c:pt>
                <c:pt idx="318">
                  <c:v>38.9</c:v>
                </c:pt>
                <c:pt idx="319">
                  <c:v>20.8</c:v>
                </c:pt>
                <c:pt idx="320">
                  <c:v>48.2</c:v>
                </c:pt>
                <c:pt idx="321">
                  <c:v>58.1</c:v>
                </c:pt>
                <c:pt idx="322">
                  <c:v>68</c:v>
                </c:pt>
                <c:pt idx="323">
                  <c:v>77.599999999999994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36.200000000000003</c:v>
                </c:pt>
                <c:pt idx="401">
                  <c:v>40.200000000000003</c:v>
                </c:pt>
                <c:pt idx="402">
                  <c:v>45.3</c:v>
                </c:pt>
                <c:pt idx="403">
                  <c:v>51.3</c:v>
                </c:pt>
                <c:pt idx="404">
                  <c:v>60.1</c:v>
                </c:pt>
                <c:pt idx="405">
                  <c:v>66.5</c:v>
                </c:pt>
                <c:pt idx="406">
                  <c:v>75</c:v>
                </c:pt>
                <c:pt idx="407">
                  <c:v>82.8</c:v>
                </c:pt>
                <c:pt idx="408">
                  <c:v>52.3</c:v>
                </c:pt>
                <c:pt idx="409">
                  <c:v>54.3</c:v>
                </c:pt>
                <c:pt idx="410">
                  <c:v>58.1</c:v>
                </c:pt>
                <c:pt idx="411">
                  <c:v>64</c:v>
                </c:pt>
                <c:pt idx="412">
                  <c:v>69.2</c:v>
                </c:pt>
                <c:pt idx="413">
                  <c:v>76.400000000000006</c:v>
                </c:pt>
                <c:pt idx="414">
                  <c:v>81.900000000000006</c:v>
                </c:pt>
                <c:pt idx="415">
                  <c:v>77.5</c:v>
                </c:pt>
                <c:pt idx="416">
                  <c:v>68.599999999999994</c:v>
                </c:pt>
                <c:pt idx="417">
                  <c:v>59.2</c:v>
                </c:pt>
                <c:pt idx="418">
                  <c:v>50.2</c:v>
                </c:pt>
                <c:pt idx="419">
                  <c:v>40.5</c:v>
                </c:pt>
                <c:pt idx="420">
                  <c:v>31.1</c:v>
                </c:pt>
                <c:pt idx="421">
                  <c:v>20.7</c:v>
                </c:pt>
                <c:pt idx="422">
                  <c:v>10.5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68.2</c:v>
                </c:pt>
                <c:pt idx="501">
                  <c:v>70.599999999999994</c:v>
                </c:pt>
                <c:pt idx="502">
                  <c:v>71</c:v>
                </c:pt>
                <c:pt idx="503">
                  <c:v>74.3</c:v>
                </c:pt>
                <c:pt idx="504">
                  <c:v>79.400000000000006</c:v>
                </c:pt>
                <c:pt idx="505">
                  <c:v>83.8</c:v>
                </c:pt>
                <c:pt idx="506">
                  <c:v>56.1</c:v>
                </c:pt>
                <c:pt idx="507">
                  <c:v>61.8</c:v>
                </c:pt>
                <c:pt idx="508">
                  <c:v>58.4</c:v>
                </c:pt>
                <c:pt idx="509">
                  <c:v>58.4</c:v>
                </c:pt>
                <c:pt idx="510">
                  <c:v>60.5</c:v>
                </c:pt>
                <c:pt idx="511">
                  <c:v>64.2</c:v>
                </c:pt>
                <c:pt idx="512">
                  <c:v>63.3</c:v>
                </c:pt>
                <c:pt idx="513">
                  <c:v>73.599999999999994</c:v>
                </c:pt>
                <c:pt idx="514">
                  <c:v>79.5</c:v>
                </c:pt>
                <c:pt idx="515">
                  <c:v>78.8</c:v>
                </c:pt>
                <c:pt idx="516">
                  <c:v>83.8</c:v>
                </c:pt>
                <c:pt idx="517">
                  <c:v>90.6</c:v>
                </c:pt>
                <c:pt idx="518">
                  <c:v>38</c:v>
                </c:pt>
                <c:pt idx="519">
                  <c:v>40.200000000000003</c:v>
                </c:pt>
                <c:pt idx="520">
                  <c:v>40.4</c:v>
                </c:pt>
                <c:pt idx="521">
                  <c:v>42.6</c:v>
                </c:pt>
                <c:pt idx="522">
                  <c:v>43.2</c:v>
                </c:pt>
                <c:pt idx="523">
                  <c:v>48.9</c:v>
                </c:pt>
                <c:pt idx="524">
                  <c:v>45.4</c:v>
                </c:pt>
                <c:pt idx="525">
                  <c:v>47.9</c:v>
                </c:pt>
                <c:pt idx="526">
                  <c:v>51.5</c:v>
                </c:pt>
                <c:pt idx="527">
                  <c:v>54</c:v>
                </c:pt>
                <c:pt idx="528">
                  <c:v>56.8</c:v>
                </c:pt>
                <c:pt idx="529">
                  <c:v>60.3</c:v>
                </c:pt>
                <c:pt idx="530">
                  <c:v>67.8</c:v>
                </c:pt>
                <c:pt idx="531">
                  <c:v>74.5</c:v>
                </c:pt>
                <c:pt idx="532">
                  <c:v>75.2</c:v>
                </c:pt>
                <c:pt idx="533">
                  <c:v>70.8</c:v>
                </c:pt>
                <c:pt idx="534">
                  <c:v>60.3</c:v>
                </c:pt>
                <c:pt idx="535">
                  <c:v>50.5</c:v>
                </c:pt>
                <c:pt idx="536">
                  <c:v>44.9</c:v>
                </c:pt>
                <c:pt idx="537">
                  <c:v>40.700000000000003</c:v>
                </c:pt>
                <c:pt idx="538">
                  <c:v>35.1</c:v>
                </c:pt>
                <c:pt idx="539">
                  <c:v>30.9</c:v>
                </c:pt>
                <c:pt idx="540">
                  <c:v>25.4</c:v>
                </c:pt>
                <c:pt idx="541">
                  <c:v>20.3</c:v>
                </c:pt>
                <c:pt idx="542">
                  <c:v>15.7</c:v>
                </c:pt>
                <c:pt idx="543">
                  <c:v>10.5</c:v>
                </c:pt>
                <c:pt idx="544">
                  <c:v>5.2</c:v>
                </c:pt>
                <c:pt idx="545">
                  <c:v>30.7</c:v>
                </c:pt>
                <c:pt idx="546">
                  <c:v>21.1</c:v>
                </c:pt>
                <c:pt idx="547">
                  <c:v>35</c:v>
                </c:pt>
                <c:pt idx="548">
                  <c:v>23</c:v>
                </c:pt>
                <c:pt idx="549">
                  <c:v>31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43.1</c:v>
                </c:pt>
                <c:pt idx="601">
                  <c:v>39.6</c:v>
                </c:pt>
                <c:pt idx="602">
                  <c:v>47.8</c:v>
                </c:pt>
                <c:pt idx="603">
                  <c:v>53.9</c:v>
                </c:pt>
                <c:pt idx="604">
                  <c:v>60.9</c:v>
                </c:pt>
                <c:pt idx="605">
                  <c:v>68.3</c:v>
                </c:pt>
                <c:pt idx="606">
                  <c:v>76.599999999999994</c:v>
                </c:pt>
                <c:pt idx="607">
                  <c:v>85.2</c:v>
                </c:pt>
                <c:pt idx="608">
                  <c:v>83.1</c:v>
                </c:pt>
                <c:pt idx="609">
                  <c:v>67.900000000000006</c:v>
                </c:pt>
                <c:pt idx="610">
                  <c:v>69.900000000000006</c:v>
                </c:pt>
                <c:pt idx="611">
                  <c:v>72.400000000000006</c:v>
                </c:pt>
                <c:pt idx="612">
                  <c:v>74</c:v>
                </c:pt>
                <c:pt idx="613">
                  <c:v>79.2</c:v>
                </c:pt>
                <c:pt idx="614">
                  <c:v>82.9</c:v>
                </c:pt>
                <c:pt idx="615">
                  <c:v>56.7</c:v>
                </c:pt>
                <c:pt idx="616">
                  <c:v>61.3</c:v>
                </c:pt>
                <c:pt idx="617">
                  <c:v>58.1</c:v>
                </c:pt>
                <c:pt idx="618">
                  <c:v>56.3</c:v>
                </c:pt>
                <c:pt idx="619">
                  <c:v>59.2</c:v>
                </c:pt>
                <c:pt idx="620">
                  <c:v>58.8</c:v>
                </c:pt>
                <c:pt idx="621">
                  <c:v>59</c:v>
                </c:pt>
                <c:pt idx="622">
                  <c:v>62.6</c:v>
                </c:pt>
                <c:pt idx="623">
                  <c:v>72.400000000000006</c:v>
                </c:pt>
                <c:pt idx="624">
                  <c:v>79.400000000000006</c:v>
                </c:pt>
                <c:pt idx="625">
                  <c:v>82.9</c:v>
                </c:pt>
                <c:pt idx="626">
                  <c:v>93.6</c:v>
                </c:pt>
                <c:pt idx="627">
                  <c:v>61.7</c:v>
                </c:pt>
                <c:pt idx="628">
                  <c:v>59.2</c:v>
                </c:pt>
                <c:pt idx="629">
                  <c:v>59.2</c:v>
                </c:pt>
                <c:pt idx="630">
                  <c:v>62.7</c:v>
                </c:pt>
                <c:pt idx="631">
                  <c:v>64.099999999999994</c:v>
                </c:pt>
                <c:pt idx="632">
                  <c:v>51.1</c:v>
                </c:pt>
                <c:pt idx="633">
                  <c:v>49.2</c:v>
                </c:pt>
                <c:pt idx="634">
                  <c:v>50.5</c:v>
                </c:pt>
                <c:pt idx="635">
                  <c:v>50.5</c:v>
                </c:pt>
                <c:pt idx="636">
                  <c:v>58.2</c:v>
                </c:pt>
                <c:pt idx="637">
                  <c:v>29.7</c:v>
                </c:pt>
                <c:pt idx="638">
                  <c:v>30.7</c:v>
                </c:pt>
                <c:pt idx="639">
                  <c:v>34.700000000000003</c:v>
                </c:pt>
                <c:pt idx="640">
                  <c:v>41.1</c:v>
                </c:pt>
                <c:pt idx="641">
                  <c:v>48.4</c:v>
                </c:pt>
                <c:pt idx="642">
                  <c:v>55.5</c:v>
                </c:pt>
                <c:pt idx="643">
                  <c:v>34.700000000000003</c:v>
                </c:pt>
                <c:pt idx="644">
                  <c:v>26.7</c:v>
                </c:pt>
                <c:pt idx="645">
                  <c:v>15.3</c:v>
                </c:pt>
                <c:pt idx="646">
                  <c:v>25.5</c:v>
                </c:pt>
                <c:pt idx="647">
                  <c:v>30.2</c:v>
                </c:pt>
                <c:pt idx="648">
                  <c:v>5.3</c:v>
                </c:pt>
                <c:pt idx="649">
                  <c:v>10.7</c:v>
                </c:pt>
                <c:pt idx="650">
                  <c:v>20.8</c:v>
                </c:pt>
                <c:pt idx="651">
                  <c:v>35.5</c:v>
                </c:pt>
                <c:pt idx="652">
                  <c:v>39.9</c:v>
                </c:pt>
                <c:pt idx="653">
                  <c:v>44.9</c:v>
                </c:pt>
                <c:pt idx="654">
                  <c:v>49.5</c:v>
                </c:pt>
                <c:pt idx="655">
                  <c:v>49.5</c:v>
                </c:pt>
                <c:pt idx="656">
                  <c:v>44.9</c:v>
                </c:pt>
                <c:pt idx="657">
                  <c:v>44.7</c:v>
                </c:pt>
                <c:pt idx="658">
                  <c:v>35.1</c:v>
                </c:pt>
                <c:pt idx="659">
                  <c:v>32.4</c:v>
                </c:pt>
                <c:pt idx="660">
                  <c:v>23.4</c:v>
                </c:pt>
                <c:pt idx="661">
                  <c:v>32.799999999999997</c:v>
                </c:pt>
                <c:pt idx="662">
                  <c:v>25.3</c:v>
                </c:pt>
                <c:pt idx="663">
                  <c:v>29.3</c:v>
                </c:pt>
                <c:pt idx="664">
                  <c:v>26.5</c:v>
                </c:pt>
                <c:pt idx="665">
                  <c:v>33.700000000000003</c:v>
                </c:pt>
                <c:pt idx="666">
                  <c:v>28.4</c:v>
                </c:pt>
                <c:pt idx="667">
                  <c:v>35.299999999999997</c:v>
                </c:pt>
                <c:pt idx="668">
                  <c:v>31.6</c:v>
                </c:pt>
                <c:pt idx="669">
                  <c:v>41.8</c:v>
                </c:pt>
                <c:pt idx="670">
                  <c:v>36</c:v>
                </c:pt>
                <c:pt idx="671">
                  <c:v>43.6</c:v>
                </c:pt>
                <c:pt idx="672">
                  <c:v>41.5</c:v>
                </c:pt>
                <c:pt idx="673">
                  <c:v>40</c:v>
                </c:pt>
                <c:pt idx="674">
                  <c:v>46.6</c:v>
                </c:pt>
                <c:pt idx="675">
                  <c:v>44.3</c:v>
                </c:pt>
                <c:pt idx="676">
                  <c:v>51.6</c:v>
                </c:pt>
                <c:pt idx="677">
                  <c:v>49.3</c:v>
                </c:pt>
                <c:pt idx="678">
                  <c:v>5.4</c:v>
                </c:pt>
                <c:pt idx="679">
                  <c:v>15.6</c:v>
                </c:pt>
                <c:pt idx="680">
                  <c:v>25.6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51.7</c:v>
                </c:pt>
                <c:pt idx="701">
                  <c:v>55.2</c:v>
                </c:pt>
                <c:pt idx="702">
                  <c:v>62</c:v>
                </c:pt>
                <c:pt idx="703">
                  <c:v>68.900000000000006</c:v>
                </c:pt>
                <c:pt idx="704">
                  <c:v>73.8</c:v>
                </c:pt>
                <c:pt idx="705">
                  <c:v>75</c:v>
                </c:pt>
                <c:pt idx="706">
                  <c:v>83.7</c:v>
                </c:pt>
                <c:pt idx="707">
                  <c:v>92.4</c:v>
                </c:pt>
                <c:pt idx="708">
                  <c:v>38.700000000000003</c:v>
                </c:pt>
                <c:pt idx="709">
                  <c:v>43.6</c:v>
                </c:pt>
                <c:pt idx="710">
                  <c:v>49.9</c:v>
                </c:pt>
                <c:pt idx="711">
                  <c:v>58.2</c:v>
                </c:pt>
                <c:pt idx="712">
                  <c:v>65.3</c:v>
                </c:pt>
                <c:pt idx="713">
                  <c:v>72.5</c:v>
                </c:pt>
                <c:pt idx="714">
                  <c:v>78.599999999999994</c:v>
                </c:pt>
                <c:pt idx="715">
                  <c:v>74.8</c:v>
                </c:pt>
                <c:pt idx="716">
                  <c:v>78.599999999999994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55.9</c:v>
                </c:pt>
                <c:pt idx="801">
                  <c:v>60.2</c:v>
                </c:pt>
                <c:pt idx="802">
                  <c:v>68.400000000000006</c:v>
                </c:pt>
                <c:pt idx="803">
                  <c:v>71</c:v>
                </c:pt>
                <c:pt idx="804">
                  <c:v>76.099999999999994</c:v>
                </c:pt>
                <c:pt idx="805">
                  <c:v>83.8</c:v>
                </c:pt>
                <c:pt idx="806">
                  <c:v>93.5</c:v>
                </c:pt>
                <c:pt idx="807">
                  <c:v>98.5</c:v>
                </c:pt>
                <c:pt idx="808">
                  <c:v>77.7</c:v>
                </c:pt>
                <c:pt idx="809">
                  <c:v>38.799999999999997</c:v>
                </c:pt>
                <c:pt idx="810">
                  <c:v>45.3</c:v>
                </c:pt>
                <c:pt idx="811">
                  <c:v>52.4</c:v>
                </c:pt>
                <c:pt idx="812">
                  <c:v>68.900000000000006</c:v>
                </c:pt>
                <c:pt idx="813">
                  <c:v>79.3</c:v>
                </c:pt>
                <c:pt idx="814">
                  <c:v>83.6</c:v>
                </c:pt>
                <c:pt idx="815">
                  <c:v>86.3</c:v>
                </c:pt>
                <c:pt idx="816">
                  <c:v>0</c:v>
                </c:pt>
                <c:pt idx="817">
                  <c:v>0</c:v>
                </c:pt>
                <c:pt idx="818">
                  <c:v>0</c:v>
                </c:pt>
                <c:pt idx="819">
                  <c:v>0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</c:v>
                </c:pt>
                <c:pt idx="824">
                  <c:v>0</c:v>
                </c:pt>
                <c:pt idx="825">
                  <c:v>0</c:v>
                </c:pt>
                <c:pt idx="826">
                  <c:v>0</c:v>
                </c:pt>
                <c:pt idx="827">
                  <c:v>0</c:v>
                </c:pt>
                <c:pt idx="828">
                  <c:v>0</c:v>
                </c:pt>
                <c:pt idx="829">
                  <c:v>0</c:v>
                </c:pt>
                <c:pt idx="830">
                  <c:v>0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0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0</c:v>
                </c:pt>
                <c:pt idx="846">
                  <c:v>0</c:v>
                </c:pt>
                <c:pt idx="847">
                  <c:v>0</c:v>
                </c:pt>
                <c:pt idx="848">
                  <c:v>0</c:v>
                </c:pt>
                <c:pt idx="849">
                  <c:v>0</c:v>
                </c:pt>
                <c:pt idx="850">
                  <c:v>0</c:v>
                </c:pt>
                <c:pt idx="851">
                  <c:v>0</c:v>
                </c:pt>
                <c:pt idx="852">
                  <c:v>0</c:v>
                </c:pt>
                <c:pt idx="853">
                  <c:v>0</c:v>
                </c:pt>
                <c:pt idx="854">
                  <c:v>0</c:v>
                </c:pt>
                <c:pt idx="855">
                  <c:v>0</c:v>
                </c:pt>
                <c:pt idx="856">
                  <c:v>0</c:v>
                </c:pt>
                <c:pt idx="857">
                  <c:v>0</c:v>
                </c:pt>
                <c:pt idx="858">
                  <c:v>0</c:v>
                </c:pt>
                <c:pt idx="859">
                  <c:v>0</c:v>
                </c:pt>
                <c:pt idx="860">
                  <c:v>0</c:v>
                </c:pt>
                <c:pt idx="861">
                  <c:v>0</c:v>
                </c:pt>
                <c:pt idx="862">
                  <c:v>0</c:v>
                </c:pt>
                <c:pt idx="863">
                  <c:v>0</c:v>
                </c:pt>
                <c:pt idx="864">
                  <c:v>0</c:v>
                </c:pt>
                <c:pt idx="865">
                  <c:v>0</c:v>
                </c:pt>
                <c:pt idx="866">
                  <c:v>0</c:v>
                </c:pt>
                <c:pt idx="867">
                  <c:v>0</c:v>
                </c:pt>
                <c:pt idx="868">
                  <c:v>0</c:v>
                </c:pt>
                <c:pt idx="869">
                  <c:v>0</c:v>
                </c:pt>
                <c:pt idx="870">
                  <c:v>0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0</c:v>
                </c:pt>
                <c:pt idx="875">
                  <c:v>0</c:v>
                </c:pt>
                <c:pt idx="876">
                  <c:v>0</c:v>
                </c:pt>
                <c:pt idx="877">
                  <c:v>0</c:v>
                </c:pt>
                <c:pt idx="878">
                  <c:v>0</c:v>
                </c:pt>
                <c:pt idx="879">
                  <c:v>0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0</c:v>
                </c:pt>
                <c:pt idx="884">
                  <c:v>0</c:v>
                </c:pt>
                <c:pt idx="885">
                  <c:v>0</c:v>
                </c:pt>
                <c:pt idx="886">
                  <c:v>0</c:v>
                </c:pt>
                <c:pt idx="887">
                  <c:v>0</c:v>
                </c:pt>
                <c:pt idx="888">
                  <c:v>0</c:v>
                </c:pt>
                <c:pt idx="889">
                  <c:v>0</c:v>
                </c:pt>
                <c:pt idx="890">
                  <c:v>0</c:v>
                </c:pt>
                <c:pt idx="891">
                  <c:v>0</c:v>
                </c:pt>
                <c:pt idx="892">
                  <c:v>0</c:v>
                </c:pt>
                <c:pt idx="893">
                  <c:v>0</c:v>
                </c:pt>
                <c:pt idx="894">
                  <c:v>0</c:v>
                </c:pt>
                <c:pt idx="895">
                  <c:v>0</c:v>
                </c:pt>
                <c:pt idx="896">
                  <c:v>0</c:v>
                </c:pt>
                <c:pt idx="897">
                  <c:v>0</c:v>
                </c:pt>
                <c:pt idx="898">
                  <c:v>0</c:v>
                </c:pt>
                <c:pt idx="899">
                  <c:v>0</c:v>
                </c:pt>
                <c:pt idx="900">
                  <c:v>33.5</c:v>
                </c:pt>
                <c:pt idx="901">
                  <c:v>37.200000000000003</c:v>
                </c:pt>
                <c:pt idx="902">
                  <c:v>42.4</c:v>
                </c:pt>
                <c:pt idx="903">
                  <c:v>48.6</c:v>
                </c:pt>
                <c:pt idx="904">
                  <c:v>57.1</c:v>
                </c:pt>
                <c:pt idx="905">
                  <c:v>65.099999999999994</c:v>
                </c:pt>
                <c:pt idx="906">
                  <c:v>74</c:v>
                </c:pt>
                <c:pt idx="907">
                  <c:v>83.7</c:v>
                </c:pt>
                <c:pt idx="908">
                  <c:v>92</c:v>
                </c:pt>
                <c:pt idx="909">
                  <c:v>100</c:v>
                </c:pt>
                <c:pt idx="910">
                  <c:v>33.799999999999997</c:v>
                </c:pt>
                <c:pt idx="911">
                  <c:v>37.200000000000003</c:v>
                </c:pt>
                <c:pt idx="912">
                  <c:v>41.8</c:v>
                </c:pt>
                <c:pt idx="913">
                  <c:v>49.3</c:v>
                </c:pt>
                <c:pt idx="914">
                  <c:v>55.9</c:v>
                </c:pt>
                <c:pt idx="915">
                  <c:v>64.5</c:v>
                </c:pt>
                <c:pt idx="916">
                  <c:v>73.900000000000006</c:v>
                </c:pt>
                <c:pt idx="917">
                  <c:v>82.9</c:v>
                </c:pt>
                <c:pt idx="918">
                  <c:v>91.5</c:v>
                </c:pt>
                <c:pt idx="919">
                  <c:v>99.4</c:v>
                </c:pt>
                <c:pt idx="920">
                  <c:v>53.1</c:v>
                </c:pt>
                <c:pt idx="921">
                  <c:v>55.7</c:v>
                </c:pt>
                <c:pt idx="922">
                  <c:v>58.5</c:v>
                </c:pt>
                <c:pt idx="923">
                  <c:v>63.5</c:v>
                </c:pt>
                <c:pt idx="924">
                  <c:v>70.7</c:v>
                </c:pt>
                <c:pt idx="925">
                  <c:v>78.8</c:v>
                </c:pt>
                <c:pt idx="926">
                  <c:v>85</c:v>
                </c:pt>
                <c:pt idx="927">
                  <c:v>91</c:v>
                </c:pt>
                <c:pt idx="928">
                  <c:v>92.9</c:v>
                </c:pt>
                <c:pt idx="929">
                  <c:v>100.2</c:v>
                </c:pt>
                <c:pt idx="930">
                  <c:v>91.2</c:v>
                </c:pt>
                <c:pt idx="931">
                  <c:v>84.1</c:v>
                </c:pt>
                <c:pt idx="932">
                  <c:v>99.9</c:v>
                </c:pt>
                <c:pt idx="933">
                  <c:v>54</c:v>
                </c:pt>
                <c:pt idx="934">
                  <c:v>54.4</c:v>
                </c:pt>
                <c:pt idx="935">
                  <c:v>54.6</c:v>
                </c:pt>
                <c:pt idx="936">
                  <c:v>54.3</c:v>
                </c:pt>
                <c:pt idx="937">
                  <c:v>50.1</c:v>
                </c:pt>
                <c:pt idx="938">
                  <c:v>49.8</c:v>
                </c:pt>
                <c:pt idx="939">
                  <c:v>49.9</c:v>
                </c:pt>
                <c:pt idx="940">
                  <c:v>49.7</c:v>
                </c:pt>
                <c:pt idx="941">
                  <c:v>10.6</c:v>
                </c:pt>
                <c:pt idx="942">
                  <c:v>20.2</c:v>
                </c:pt>
                <c:pt idx="943">
                  <c:v>31.2</c:v>
                </c:pt>
                <c:pt idx="944">
                  <c:v>30.6</c:v>
                </c:pt>
                <c:pt idx="945">
                  <c:v>40.299999999999997</c:v>
                </c:pt>
                <c:pt idx="946">
                  <c:v>50.1</c:v>
                </c:pt>
                <c:pt idx="947">
                  <c:v>60.4</c:v>
                </c:pt>
                <c:pt idx="948">
                  <c:v>70.599999999999994</c:v>
                </c:pt>
                <c:pt idx="949">
                  <c:v>79.599999999999994</c:v>
                </c:pt>
                <c:pt idx="950">
                  <c:v>90.1</c:v>
                </c:pt>
                <c:pt idx="951">
                  <c:v>98.8</c:v>
                </c:pt>
                <c:pt idx="952">
                  <c:v>38.4</c:v>
                </c:pt>
                <c:pt idx="953">
                  <c:v>66.3</c:v>
                </c:pt>
                <c:pt idx="954">
                  <c:v>78</c:v>
                </c:pt>
                <c:pt idx="955">
                  <c:v>54.2</c:v>
                </c:pt>
                <c:pt idx="956">
                  <c:v>89</c:v>
                </c:pt>
                <c:pt idx="957">
                  <c:v>87.3</c:v>
                </c:pt>
                <c:pt idx="958">
                  <c:v>88</c:v>
                </c:pt>
                <c:pt idx="959">
                  <c:v>87.8</c:v>
                </c:pt>
                <c:pt idx="960">
                  <c:v>87.4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0</c:v>
                </c:pt>
                <c:pt idx="993">
                  <c:v>0</c:v>
                </c:pt>
                <c:pt idx="994">
                  <c:v>0</c:v>
                </c:pt>
                <c:pt idx="995">
                  <c:v>0</c:v>
                </c:pt>
                <c:pt idx="996">
                  <c:v>0</c:v>
                </c:pt>
                <c:pt idx="997">
                  <c:v>0</c:v>
                </c:pt>
                <c:pt idx="998">
                  <c:v>0</c:v>
                </c:pt>
                <c:pt idx="999">
                  <c:v>0</c:v>
                </c:pt>
                <c:pt idx="1000">
                  <c:v>51.9</c:v>
                </c:pt>
                <c:pt idx="1001">
                  <c:v>78.7</c:v>
                </c:pt>
                <c:pt idx="1002">
                  <c:v>39.799999999999997</c:v>
                </c:pt>
                <c:pt idx="1003">
                  <c:v>44.4</c:v>
                </c:pt>
                <c:pt idx="1004">
                  <c:v>51.2</c:v>
                </c:pt>
                <c:pt idx="1005">
                  <c:v>58.7</c:v>
                </c:pt>
                <c:pt idx="1006">
                  <c:v>66.2</c:v>
                </c:pt>
                <c:pt idx="1007">
                  <c:v>74.7</c:v>
                </c:pt>
                <c:pt idx="1008">
                  <c:v>83.8</c:v>
                </c:pt>
                <c:pt idx="1009">
                  <c:v>93.4</c:v>
                </c:pt>
                <c:pt idx="1010">
                  <c:v>57.9</c:v>
                </c:pt>
                <c:pt idx="1011">
                  <c:v>56.9</c:v>
                </c:pt>
                <c:pt idx="1012">
                  <c:v>58.2</c:v>
                </c:pt>
                <c:pt idx="1013">
                  <c:v>48.8</c:v>
                </c:pt>
                <c:pt idx="1014">
                  <c:v>41.1</c:v>
                </c:pt>
                <c:pt idx="1015">
                  <c:v>36.799999999999997</c:v>
                </c:pt>
                <c:pt idx="1016">
                  <c:v>29.9</c:v>
                </c:pt>
                <c:pt idx="1017">
                  <c:v>9.8000000000000007</c:v>
                </c:pt>
                <c:pt idx="1018">
                  <c:v>89.1</c:v>
                </c:pt>
                <c:pt idx="1019">
                  <c:v>19.2</c:v>
                </c:pt>
                <c:pt idx="1020">
                  <c:v>30.9</c:v>
                </c:pt>
                <c:pt idx="1021">
                  <c:v>41</c:v>
                </c:pt>
                <c:pt idx="1022">
                  <c:v>50.2</c:v>
                </c:pt>
                <c:pt idx="1023">
                  <c:v>60</c:v>
                </c:pt>
                <c:pt idx="1024">
                  <c:v>70.099999999999994</c:v>
                </c:pt>
                <c:pt idx="1025">
                  <c:v>81.599999999999994</c:v>
                </c:pt>
                <c:pt idx="1026">
                  <c:v>60.9</c:v>
                </c:pt>
                <c:pt idx="1027">
                  <c:v>63.2</c:v>
                </c:pt>
                <c:pt idx="1028">
                  <c:v>67.5</c:v>
                </c:pt>
                <c:pt idx="1029">
                  <c:v>71.900000000000006</c:v>
                </c:pt>
                <c:pt idx="1030">
                  <c:v>77.599999999999994</c:v>
                </c:pt>
                <c:pt idx="1031">
                  <c:v>84.1</c:v>
                </c:pt>
                <c:pt idx="1032">
                  <c:v>90.6</c:v>
                </c:pt>
                <c:pt idx="1033">
                  <c:v>98</c:v>
                </c:pt>
                <c:pt idx="1034">
                  <c:v>80.5</c:v>
                </c:pt>
                <c:pt idx="1035">
                  <c:v>52.6</c:v>
                </c:pt>
                <c:pt idx="1036">
                  <c:v>56.1</c:v>
                </c:pt>
                <c:pt idx="1037">
                  <c:v>61.8</c:v>
                </c:pt>
                <c:pt idx="1038">
                  <c:v>67.400000000000006</c:v>
                </c:pt>
                <c:pt idx="1039">
                  <c:v>73.5</c:v>
                </c:pt>
                <c:pt idx="1040">
                  <c:v>88.3</c:v>
                </c:pt>
                <c:pt idx="1041">
                  <c:v>97.5</c:v>
                </c:pt>
                <c:pt idx="1042">
                  <c:v>93.2</c:v>
                </c:pt>
                <c:pt idx="1043">
                  <c:v>43.7</c:v>
                </c:pt>
                <c:pt idx="1044">
                  <c:v>48.2</c:v>
                </c:pt>
                <c:pt idx="1045">
                  <c:v>54.3</c:v>
                </c:pt>
                <c:pt idx="1046">
                  <c:v>60.3</c:v>
                </c:pt>
                <c:pt idx="1047">
                  <c:v>68.3</c:v>
                </c:pt>
                <c:pt idx="1048">
                  <c:v>75.7</c:v>
                </c:pt>
                <c:pt idx="1049">
                  <c:v>84.7</c:v>
                </c:pt>
                <c:pt idx="1050">
                  <c:v>32.299999999999997</c:v>
                </c:pt>
                <c:pt idx="1051">
                  <c:v>37.799999999999997</c:v>
                </c:pt>
                <c:pt idx="1052">
                  <c:v>45.5</c:v>
                </c:pt>
                <c:pt idx="1053">
                  <c:v>53.1</c:v>
                </c:pt>
                <c:pt idx="1054">
                  <c:v>62.2</c:v>
                </c:pt>
                <c:pt idx="1055">
                  <c:v>71.5</c:v>
                </c:pt>
                <c:pt idx="1056">
                  <c:v>80.900000000000006</c:v>
                </c:pt>
                <c:pt idx="1057">
                  <c:v>91</c:v>
                </c:pt>
                <c:pt idx="1058">
                  <c:v>58.1</c:v>
                </c:pt>
                <c:pt idx="1059">
                  <c:v>48.9</c:v>
                </c:pt>
                <c:pt idx="1060">
                  <c:v>48.8</c:v>
                </c:pt>
                <c:pt idx="1061">
                  <c:v>41.8</c:v>
                </c:pt>
                <c:pt idx="1062">
                  <c:v>31.3</c:v>
                </c:pt>
                <c:pt idx="1063">
                  <c:v>28.5</c:v>
                </c:pt>
                <c:pt idx="1064">
                  <c:v>23.5</c:v>
                </c:pt>
                <c:pt idx="1065">
                  <c:v>7.5</c:v>
                </c:pt>
                <c:pt idx="1066">
                  <c:v>19.8</c:v>
                </c:pt>
                <c:pt idx="1067">
                  <c:v>30</c:v>
                </c:pt>
                <c:pt idx="1068">
                  <c:v>40.5</c:v>
                </c:pt>
                <c:pt idx="1069">
                  <c:v>50.6</c:v>
                </c:pt>
                <c:pt idx="1070">
                  <c:v>60.9</c:v>
                </c:pt>
                <c:pt idx="1071">
                  <c:v>70.599999999999994</c:v>
                </c:pt>
                <c:pt idx="1072">
                  <c:v>90.6</c:v>
                </c:pt>
                <c:pt idx="1073">
                  <c:v>80.599999999999994</c:v>
                </c:pt>
                <c:pt idx="1074">
                  <c:v>59.4</c:v>
                </c:pt>
                <c:pt idx="1075">
                  <c:v>83.3</c:v>
                </c:pt>
                <c:pt idx="1076">
                  <c:v>94.7</c:v>
                </c:pt>
                <c:pt idx="1077">
                  <c:v>49</c:v>
                </c:pt>
                <c:pt idx="1078">
                  <c:v>52.3</c:v>
                </c:pt>
                <c:pt idx="1079">
                  <c:v>56.9</c:v>
                </c:pt>
                <c:pt idx="1080">
                  <c:v>63.2</c:v>
                </c:pt>
                <c:pt idx="1081">
                  <c:v>69.8</c:v>
                </c:pt>
                <c:pt idx="1082">
                  <c:v>78.400000000000006</c:v>
                </c:pt>
                <c:pt idx="1083">
                  <c:v>86.3</c:v>
                </c:pt>
                <c:pt idx="1084">
                  <c:v>37.799999999999997</c:v>
                </c:pt>
                <c:pt idx="1085">
                  <c:v>42.7</c:v>
                </c:pt>
                <c:pt idx="1086">
                  <c:v>48.9</c:v>
                </c:pt>
                <c:pt idx="1087">
                  <c:v>56.4</c:v>
                </c:pt>
                <c:pt idx="1088">
                  <c:v>65.099999999999994</c:v>
                </c:pt>
                <c:pt idx="1089">
                  <c:v>73.3</c:v>
                </c:pt>
                <c:pt idx="1090">
                  <c:v>82.5</c:v>
                </c:pt>
                <c:pt idx="1091">
                  <c:v>91.2</c:v>
                </c:pt>
                <c:pt idx="1092">
                  <c:v>58.3</c:v>
                </c:pt>
                <c:pt idx="1093">
                  <c:v>58.7</c:v>
                </c:pt>
                <c:pt idx="1094">
                  <c:v>56.5</c:v>
                </c:pt>
                <c:pt idx="1095">
                  <c:v>46.3</c:v>
                </c:pt>
                <c:pt idx="1096">
                  <c:v>38.299999999999997</c:v>
                </c:pt>
                <c:pt idx="1097">
                  <c:v>0</c:v>
                </c:pt>
                <c:pt idx="1098">
                  <c:v>0</c:v>
                </c:pt>
                <c:pt idx="1099">
                  <c:v>0</c:v>
                </c:pt>
                <c:pt idx="1100">
                  <c:v>50.2</c:v>
                </c:pt>
                <c:pt idx="1101">
                  <c:v>53.3</c:v>
                </c:pt>
                <c:pt idx="1102">
                  <c:v>52.9</c:v>
                </c:pt>
                <c:pt idx="1103">
                  <c:v>58.6</c:v>
                </c:pt>
                <c:pt idx="1104">
                  <c:v>62</c:v>
                </c:pt>
                <c:pt idx="1105">
                  <c:v>67.599999999999994</c:v>
                </c:pt>
                <c:pt idx="1106">
                  <c:v>75.8</c:v>
                </c:pt>
                <c:pt idx="1107">
                  <c:v>83.3</c:v>
                </c:pt>
                <c:pt idx="1108">
                  <c:v>92.3</c:v>
                </c:pt>
                <c:pt idx="1109">
                  <c:v>100.9</c:v>
                </c:pt>
                <c:pt idx="1110">
                  <c:v>34.1</c:v>
                </c:pt>
                <c:pt idx="1111">
                  <c:v>46.1</c:v>
                </c:pt>
                <c:pt idx="1112">
                  <c:v>47.6</c:v>
                </c:pt>
                <c:pt idx="1113">
                  <c:v>40.700000000000003</c:v>
                </c:pt>
                <c:pt idx="1114">
                  <c:v>37.700000000000003</c:v>
                </c:pt>
                <c:pt idx="1115">
                  <c:v>52.2</c:v>
                </c:pt>
                <c:pt idx="1116">
                  <c:v>46.9</c:v>
                </c:pt>
                <c:pt idx="1117">
                  <c:v>37.9</c:v>
                </c:pt>
                <c:pt idx="1118">
                  <c:v>45.7</c:v>
                </c:pt>
                <c:pt idx="1119">
                  <c:v>44.8</c:v>
                </c:pt>
                <c:pt idx="1120">
                  <c:v>51.4</c:v>
                </c:pt>
                <c:pt idx="1121">
                  <c:v>53.1</c:v>
                </c:pt>
                <c:pt idx="1122">
                  <c:v>58.9</c:v>
                </c:pt>
                <c:pt idx="1123">
                  <c:v>57.7</c:v>
                </c:pt>
                <c:pt idx="1124">
                  <c:v>65.5</c:v>
                </c:pt>
                <c:pt idx="1125">
                  <c:v>64.599999999999994</c:v>
                </c:pt>
                <c:pt idx="1126">
                  <c:v>70.7</c:v>
                </c:pt>
                <c:pt idx="1127">
                  <c:v>70.599999999999994</c:v>
                </c:pt>
                <c:pt idx="1128">
                  <c:v>78.8</c:v>
                </c:pt>
                <c:pt idx="1129">
                  <c:v>102.5</c:v>
                </c:pt>
                <c:pt idx="1130">
                  <c:v>14.6</c:v>
                </c:pt>
                <c:pt idx="1131">
                  <c:v>21.5</c:v>
                </c:pt>
                <c:pt idx="1132">
                  <c:v>30.4</c:v>
                </c:pt>
                <c:pt idx="1133">
                  <c:v>40.200000000000003</c:v>
                </c:pt>
                <c:pt idx="1134">
                  <c:v>50</c:v>
                </c:pt>
                <c:pt idx="1135">
                  <c:v>59.7</c:v>
                </c:pt>
                <c:pt idx="1136">
                  <c:v>70</c:v>
                </c:pt>
                <c:pt idx="1137">
                  <c:v>79.099999999999994</c:v>
                </c:pt>
                <c:pt idx="1138">
                  <c:v>89.4</c:v>
                </c:pt>
                <c:pt idx="1139">
                  <c:v>99.1</c:v>
                </c:pt>
                <c:pt idx="1140">
                  <c:v>0</c:v>
                </c:pt>
                <c:pt idx="1141">
                  <c:v>0</c:v>
                </c:pt>
                <c:pt idx="1142">
                  <c:v>0</c:v>
                </c:pt>
                <c:pt idx="1143">
                  <c:v>0</c:v>
                </c:pt>
                <c:pt idx="1144">
                  <c:v>0</c:v>
                </c:pt>
                <c:pt idx="1145">
                  <c:v>0</c:v>
                </c:pt>
                <c:pt idx="1146">
                  <c:v>0</c:v>
                </c:pt>
                <c:pt idx="1147">
                  <c:v>0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0</c:v>
                </c:pt>
                <c:pt idx="1165">
                  <c:v>0</c:v>
                </c:pt>
                <c:pt idx="1166">
                  <c:v>0</c:v>
                </c:pt>
                <c:pt idx="1167">
                  <c:v>0</c:v>
                </c:pt>
                <c:pt idx="1168">
                  <c:v>0</c:v>
                </c:pt>
                <c:pt idx="1169">
                  <c:v>0</c:v>
                </c:pt>
                <c:pt idx="1170">
                  <c:v>0</c:v>
                </c:pt>
                <c:pt idx="1171">
                  <c:v>0</c:v>
                </c:pt>
                <c:pt idx="1172">
                  <c:v>0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0</c:v>
                </c:pt>
                <c:pt idx="1177">
                  <c:v>0</c:v>
                </c:pt>
                <c:pt idx="1178">
                  <c:v>0</c:v>
                </c:pt>
                <c:pt idx="1179">
                  <c:v>0</c:v>
                </c:pt>
                <c:pt idx="1180">
                  <c:v>0</c:v>
                </c:pt>
                <c:pt idx="1181">
                  <c:v>0</c:v>
                </c:pt>
                <c:pt idx="1182">
                  <c:v>0</c:v>
                </c:pt>
                <c:pt idx="1183">
                  <c:v>0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0</c:v>
                </c:pt>
                <c:pt idx="1189">
                  <c:v>0</c:v>
                </c:pt>
                <c:pt idx="1190">
                  <c:v>0</c:v>
                </c:pt>
                <c:pt idx="1191">
                  <c:v>0</c:v>
                </c:pt>
                <c:pt idx="1192">
                  <c:v>0</c:v>
                </c:pt>
                <c:pt idx="1193">
                  <c:v>0</c:v>
                </c:pt>
                <c:pt idx="1194">
                  <c:v>0</c:v>
                </c:pt>
                <c:pt idx="1195">
                  <c:v>0</c:v>
                </c:pt>
                <c:pt idx="1196">
                  <c:v>0</c:v>
                </c:pt>
                <c:pt idx="1197">
                  <c:v>0</c:v>
                </c:pt>
                <c:pt idx="1198">
                  <c:v>0</c:v>
                </c:pt>
                <c:pt idx="1199">
                  <c:v>0</c:v>
                </c:pt>
                <c:pt idx="1200">
                  <c:v>0</c:v>
                </c:pt>
                <c:pt idx="1201">
                  <c:v>0</c:v>
                </c:pt>
                <c:pt idx="1202">
                  <c:v>0</c:v>
                </c:pt>
                <c:pt idx="1203">
                  <c:v>0</c:v>
                </c:pt>
                <c:pt idx="1204">
                  <c:v>0</c:v>
                </c:pt>
                <c:pt idx="1205">
                  <c:v>0</c:v>
                </c:pt>
                <c:pt idx="1206">
                  <c:v>0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0</c:v>
                </c:pt>
                <c:pt idx="1228">
                  <c:v>0</c:v>
                </c:pt>
                <c:pt idx="1229">
                  <c:v>0</c:v>
                </c:pt>
                <c:pt idx="1230">
                  <c:v>0</c:v>
                </c:pt>
                <c:pt idx="1231">
                  <c:v>0</c:v>
                </c:pt>
                <c:pt idx="1232">
                  <c:v>0</c:v>
                </c:pt>
                <c:pt idx="1233">
                  <c:v>0</c:v>
                </c:pt>
                <c:pt idx="1234">
                  <c:v>0</c:v>
                </c:pt>
                <c:pt idx="1235">
                  <c:v>0</c:v>
                </c:pt>
                <c:pt idx="1236">
                  <c:v>0</c:v>
                </c:pt>
                <c:pt idx="1237">
                  <c:v>0</c:v>
                </c:pt>
                <c:pt idx="1238">
                  <c:v>0</c:v>
                </c:pt>
                <c:pt idx="1239">
                  <c:v>0</c:v>
                </c:pt>
                <c:pt idx="1240">
                  <c:v>0</c:v>
                </c:pt>
                <c:pt idx="1241">
                  <c:v>0</c:v>
                </c:pt>
                <c:pt idx="1242">
                  <c:v>0</c:v>
                </c:pt>
                <c:pt idx="1243">
                  <c:v>0</c:v>
                </c:pt>
                <c:pt idx="1244">
                  <c:v>0</c:v>
                </c:pt>
                <c:pt idx="1245">
                  <c:v>0</c:v>
                </c:pt>
                <c:pt idx="1246">
                  <c:v>0</c:v>
                </c:pt>
                <c:pt idx="1247">
                  <c:v>0</c:v>
                </c:pt>
                <c:pt idx="1248">
                  <c:v>0</c:v>
                </c:pt>
                <c:pt idx="1249">
                  <c:v>0</c:v>
                </c:pt>
                <c:pt idx="1250">
                  <c:v>0</c:v>
                </c:pt>
                <c:pt idx="1251">
                  <c:v>0</c:v>
                </c:pt>
                <c:pt idx="1252">
                  <c:v>0</c:v>
                </c:pt>
                <c:pt idx="1253">
                  <c:v>0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0</c:v>
                </c:pt>
                <c:pt idx="1258">
                  <c:v>0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0</c:v>
                </c:pt>
                <c:pt idx="1273">
                  <c:v>0</c:v>
                </c:pt>
                <c:pt idx="1274">
                  <c:v>0</c:v>
                </c:pt>
                <c:pt idx="1275">
                  <c:v>0</c:v>
                </c:pt>
                <c:pt idx="1276">
                  <c:v>0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0</c:v>
                </c:pt>
                <c:pt idx="1282">
                  <c:v>0</c:v>
                </c:pt>
                <c:pt idx="1283">
                  <c:v>0</c:v>
                </c:pt>
                <c:pt idx="1284">
                  <c:v>0</c:v>
                </c:pt>
                <c:pt idx="1285">
                  <c:v>0</c:v>
                </c:pt>
                <c:pt idx="1286">
                  <c:v>0</c:v>
                </c:pt>
                <c:pt idx="1287">
                  <c:v>0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  <c:pt idx="1319">
                  <c:v>0</c:v>
                </c:pt>
                <c:pt idx="1320">
                  <c:v>0</c:v>
                </c:pt>
                <c:pt idx="1321">
                  <c:v>0</c:v>
                </c:pt>
                <c:pt idx="1322">
                  <c:v>0</c:v>
                </c:pt>
                <c:pt idx="1323">
                  <c:v>0</c:v>
                </c:pt>
                <c:pt idx="1324">
                  <c:v>0</c:v>
                </c:pt>
                <c:pt idx="1325">
                  <c:v>0</c:v>
                </c:pt>
                <c:pt idx="1326">
                  <c:v>0</c:v>
                </c:pt>
                <c:pt idx="1327">
                  <c:v>0</c:v>
                </c:pt>
                <c:pt idx="1328">
                  <c:v>0</c:v>
                </c:pt>
                <c:pt idx="1329">
                  <c:v>0</c:v>
                </c:pt>
                <c:pt idx="1330">
                  <c:v>0</c:v>
                </c:pt>
                <c:pt idx="1331">
                  <c:v>0</c:v>
                </c:pt>
                <c:pt idx="1332">
                  <c:v>0</c:v>
                </c:pt>
                <c:pt idx="1333">
                  <c:v>0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0</c:v>
                </c:pt>
                <c:pt idx="1338">
                  <c:v>0</c:v>
                </c:pt>
                <c:pt idx="1339">
                  <c:v>0</c:v>
                </c:pt>
                <c:pt idx="1340">
                  <c:v>0</c:v>
                </c:pt>
                <c:pt idx="1341">
                  <c:v>0</c:v>
                </c:pt>
                <c:pt idx="1342">
                  <c:v>0</c:v>
                </c:pt>
                <c:pt idx="1343">
                  <c:v>0</c:v>
                </c:pt>
                <c:pt idx="1344">
                  <c:v>0</c:v>
                </c:pt>
                <c:pt idx="1345">
                  <c:v>0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0</c:v>
                </c:pt>
                <c:pt idx="1378">
                  <c:v>0</c:v>
                </c:pt>
                <c:pt idx="1379">
                  <c:v>0</c:v>
                </c:pt>
                <c:pt idx="1380">
                  <c:v>0</c:v>
                </c:pt>
                <c:pt idx="1381">
                  <c:v>0</c:v>
                </c:pt>
                <c:pt idx="1382">
                  <c:v>0</c:v>
                </c:pt>
                <c:pt idx="1383">
                  <c:v>0</c:v>
                </c:pt>
                <c:pt idx="1384">
                  <c:v>0</c:v>
                </c:pt>
                <c:pt idx="1385">
                  <c:v>0</c:v>
                </c:pt>
                <c:pt idx="1386">
                  <c:v>0</c:v>
                </c:pt>
                <c:pt idx="1387">
                  <c:v>0</c:v>
                </c:pt>
                <c:pt idx="1388">
                  <c:v>0</c:v>
                </c:pt>
                <c:pt idx="1389">
                  <c:v>0</c:v>
                </c:pt>
                <c:pt idx="1390">
                  <c:v>0</c:v>
                </c:pt>
                <c:pt idx="1391">
                  <c:v>0</c:v>
                </c:pt>
                <c:pt idx="1392">
                  <c:v>0</c:v>
                </c:pt>
                <c:pt idx="1393">
                  <c:v>0</c:v>
                </c:pt>
                <c:pt idx="1394">
                  <c:v>0</c:v>
                </c:pt>
                <c:pt idx="1395">
                  <c:v>0</c:v>
                </c:pt>
                <c:pt idx="1396">
                  <c:v>0</c:v>
                </c:pt>
                <c:pt idx="1397">
                  <c:v>0</c:v>
                </c:pt>
                <c:pt idx="1398">
                  <c:v>0</c:v>
                </c:pt>
                <c:pt idx="1399">
                  <c:v>0</c:v>
                </c:pt>
                <c:pt idx="1400">
                  <c:v>0</c:v>
                </c:pt>
                <c:pt idx="1401">
                  <c:v>0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0</c:v>
                </c:pt>
                <c:pt idx="1415">
                  <c:v>0</c:v>
                </c:pt>
                <c:pt idx="1416">
                  <c:v>0</c:v>
                </c:pt>
                <c:pt idx="1417">
                  <c:v>0</c:v>
                </c:pt>
                <c:pt idx="1418">
                  <c:v>0</c:v>
                </c:pt>
                <c:pt idx="1419">
                  <c:v>0</c:v>
                </c:pt>
                <c:pt idx="1420">
                  <c:v>0</c:v>
                </c:pt>
                <c:pt idx="1421">
                  <c:v>0</c:v>
                </c:pt>
                <c:pt idx="1422">
                  <c:v>0</c:v>
                </c:pt>
                <c:pt idx="1423">
                  <c:v>0</c:v>
                </c:pt>
                <c:pt idx="1424">
                  <c:v>0</c:v>
                </c:pt>
                <c:pt idx="1425">
                  <c:v>0</c:v>
                </c:pt>
                <c:pt idx="1426">
                  <c:v>0</c:v>
                </c:pt>
                <c:pt idx="1427">
                  <c:v>0</c:v>
                </c:pt>
                <c:pt idx="1428">
                  <c:v>0</c:v>
                </c:pt>
                <c:pt idx="1429">
                  <c:v>0</c:v>
                </c:pt>
                <c:pt idx="1430">
                  <c:v>0</c:v>
                </c:pt>
                <c:pt idx="1431">
                  <c:v>0</c:v>
                </c:pt>
                <c:pt idx="1432">
                  <c:v>0</c:v>
                </c:pt>
                <c:pt idx="1433">
                  <c:v>0</c:v>
                </c:pt>
                <c:pt idx="1434">
                  <c:v>0</c:v>
                </c:pt>
                <c:pt idx="1435">
                  <c:v>0</c:v>
                </c:pt>
                <c:pt idx="1436">
                  <c:v>0</c:v>
                </c:pt>
                <c:pt idx="1437">
                  <c:v>0</c:v>
                </c:pt>
                <c:pt idx="1438">
                  <c:v>0</c:v>
                </c:pt>
                <c:pt idx="1439">
                  <c:v>0</c:v>
                </c:pt>
                <c:pt idx="1440">
                  <c:v>0</c:v>
                </c:pt>
                <c:pt idx="1441">
                  <c:v>0</c:v>
                </c:pt>
                <c:pt idx="1442">
                  <c:v>0</c:v>
                </c:pt>
                <c:pt idx="1443">
                  <c:v>0</c:v>
                </c:pt>
                <c:pt idx="1444">
                  <c:v>0</c:v>
                </c:pt>
                <c:pt idx="1445">
                  <c:v>0</c:v>
                </c:pt>
                <c:pt idx="1446">
                  <c:v>0</c:v>
                </c:pt>
                <c:pt idx="1447">
                  <c:v>0</c:v>
                </c:pt>
                <c:pt idx="1448">
                  <c:v>0</c:v>
                </c:pt>
                <c:pt idx="1449">
                  <c:v>0</c:v>
                </c:pt>
                <c:pt idx="1450">
                  <c:v>0</c:v>
                </c:pt>
                <c:pt idx="1451">
                  <c:v>0</c:v>
                </c:pt>
                <c:pt idx="1452">
                  <c:v>0</c:v>
                </c:pt>
                <c:pt idx="1453">
                  <c:v>0</c:v>
                </c:pt>
                <c:pt idx="1454">
                  <c:v>0</c:v>
                </c:pt>
                <c:pt idx="1455">
                  <c:v>0</c:v>
                </c:pt>
                <c:pt idx="1456">
                  <c:v>0</c:v>
                </c:pt>
                <c:pt idx="1457">
                  <c:v>0</c:v>
                </c:pt>
                <c:pt idx="1458">
                  <c:v>0</c:v>
                </c:pt>
                <c:pt idx="1459">
                  <c:v>0</c:v>
                </c:pt>
                <c:pt idx="1460">
                  <c:v>0</c:v>
                </c:pt>
                <c:pt idx="1461">
                  <c:v>0</c:v>
                </c:pt>
                <c:pt idx="1462">
                  <c:v>0</c:v>
                </c:pt>
                <c:pt idx="1463">
                  <c:v>0</c:v>
                </c:pt>
                <c:pt idx="1464">
                  <c:v>0</c:v>
                </c:pt>
                <c:pt idx="1465">
                  <c:v>0</c:v>
                </c:pt>
                <c:pt idx="1466">
                  <c:v>0</c:v>
                </c:pt>
                <c:pt idx="1467">
                  <c:v>0</c:v>
                </c:pt>
                <c:pt idx="1468">
                  <c:v>0</c:v>
                </c:pt>
                <c:pt idx="1469">
                  <c:v>0</c:v>
                </c:pt>
                <c:pt idx="1470">
                  <c:v>0</c:v>
                </c:pt>
                <c:pt idx="1471">
                  <c:v>0</c:v>
                </c:pt>
                <c:pt idx="1472">
                  <c:v>0</c:v>
                </c:pt>
                <c:pt idx="1473">
                  <c:v>0</c:v>
                </c:pt>
                <c:pt idx="1474">
                  <c:v>0</c:v>
                </c:pt>
                <c:pt idx="1475">
                  <c:v>0</c:v>
                </c:pt>
                <c:pt idx="1476">
                  <c:v>0</c:v>
                </c:pt>
                <c:pt idx="1477">
                  <c:v>0</c:v>
                </c:pt>
                <c:pt idx="1478">
                  <c:v>0</c:v>
                </c:pt>
                <c:pt idx="1479">
                  <c:v>0</c:v>
                </c:pt>
                <c:pt idx="1480">
                  <c:v>0</c:v>
                </c:pt>
                <c:pt idx="1481">
                  <c:v>0</c:v>
                </c:pt>
                <c:pt idx="1482">
                  <c:v>0</c:v>
                </c:pt>
                <c:pt idx="1483">
                  <c:v>0</c:v>
                </c:pt>
                <c:pt idx="1484">
                  <c:v>0</c:v>
                </c:pt>
                <c:pt idx="1485">
                  <c:v>0</c:v>
                </c:pt>
                <c:pt idx="1486">
                  <c:v>0</c:v>
                </c:pt>
                <c:pt idx="1487">
                  <c:v>0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0</c:v>
                </c:pt>
                <c:pt idx="1506">
                  <c:v>0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0</c:v>
                </c:pt>
                <c:pt idx="1512">
                  <c:v>0</c:v>
                </c:pt>
                <c:pt idx="1513">
                  <c:v>0</c:v>
                </c:pt>
                <c:pt idx="1514">
                  <c:v>0</c:v>
                </c:pt>
                <c:pt idx="1515">
                  <c:v>0</c:v>
                </c:pt>
                <c:pt idx="1516">
                  <c:v>0</c:v>
                </c:pt>
                <c:pt idx="1517">
                  <c:v>0</c:v>
                </c:pt>
                <c:pt idx="1518">
                  <c:v>0</c:v>
                </c:pt>
                <c:pt idx="1519">
                  <c:v>0</c:v>
                </c:pt>
                <c:pt idx="1520">
                  <c:v>0</c:v>
                </c:pt>
                <c:pt idx="1521">
                  <c:v>0</c:v>
                </c:pt>
                <c:pt idx="1522">
                  <c:v>0</c:v>
                </c:pt>
                <c:pt idx="1523">
                  <c:v>0</c:v>
                </c:pt>
                <c:pt idx="1524">
                  <c:v>0</c:v>
                </c:pt>
                <c:pt idx="1525">
                  <c:v>0</c:v>
                </c:pt>
                <c:pt idx="1526">
                  <c:v>0</c:v>
                </c:pt>
                <c:pt idx="1527">
                  <c:v>0</c:v>
                </c:pt>
                <c:pt idx="1528">
                  <c:v>0</c:v>
                </c:pt>
                <c:pt idx="1529">
                  <c:v>0</c:v>
                </c:pt>
                <c:pt idx="1530">
                  <c:v>0</c:v>
                </c:pt>
                <c:pt idx="1531">
                  <c:v>0</c:v>
                </c:pt>
                <c:pt idx="1532">
                  <c:v>0</c:v>
                </c:pt>
                <c:pt idx="1533">
                  <c:v>0</c:v>
                </c:pt>
                <c:pt idx="1534">
                  <c:v>0</c:v>
                </c:pt>
                <c:pt idx="1535">
                  <c:v>0</c:v>
                </c:pt>
                <c:pt idx="1536">
                  <c:v>0</c:v>
                </c:pt>
                <c:pt idx="1537">
                  <c:v>0</c:v>
                </c:pt>
                <c:pt idx="1538">
                  <c:v>0</c:v>
                </c:pt>
                <c:pt idx="1539">
                  <c:v>0</c:v>
                </c:pt>
                <c:pt idx="1540">
                  <c:v>0</c:v>
                </c:pt>
                <c:pt idx="1541">
                  <c:v>0</c:v>
                </c:pt>
                <c:pt idx="1542">
                  <c:v>0</c:v>
                </c:pt>
                <c:pt idx="1543">
                  <c:v>0</c:v>
                </c:pt>
                <c:pt idx="1544">
                  <c:v>0</c:v>
                </c:pt>
                <c:pt idx="1545">
                  <c:v>0</c:v>
                </c:pt>
                <c:pt idx="1546">
                  <c:v>0</c:v>
                </c:pt>
                <c:pt idx="1547">
                  <c:v>0</c:v>
                </c:pt>
                <c:pt idx="1548">
                  <c:v>0</c:v>
                </c:pt>
                <c:pt idx="1549">
                  <c:v>0</c:v>
                </c:pt>
                <c:pt idx="1550">
                  <c:v>0</c:v>
                </c:pt>
                <c:pt idx="1551">
                  <c:v>0</c:v>
                </c:pt>
                <c:pt idx="1552">
                  <c:v>0</c:v>
                </c:pt>
                <c:pt idx="1553">
                  <c:v>0</c:v>
                </c:pt>
                <c:pt idx="1554">
                  <c:v>0</c:v>
                </c:pt>
                <c:pt idx="1555">
                  <c:v>0</c:v>
                </c:pt>
                <c:pt idx="1556">
                  <c:v>0</c:v>
                </c:pt>
                <c:pt idx="1557">
                  <c:v>0</c:v>
                </c:pt>
                <c:pt idx="1558">
                  <c:v>0</c:v>
                </c:pt>
                <c:pt idx="1559">
                  <c:v>0</c:v>
                </c:pt>
                <c:pt idx="1560">
                  <c:v>0</c:v>
                </c:pt>
                <c:pt idx="1561">
                  <c:v>0</c:v>
                </c:pt>
                <c:pt idx="1562">
                  <c:v>0</c:v>
                </c:pt>
                <c:pt idx="1563">
                  <c:v>0</c:v>
                </c:pt>
                <c:pt idx="1564">
                  <c:v>0</c:v>
                </c:pt>
                <c:pt idx="1565">
                  <c:v>0</c:v>
                </c:pt>
                <c:pt idx="1566">
                  <c:v>0</c:v>
                </c:pt>
                <c:pt idx="1567">
                  <c:v>0</c:v>
                </c:pt>
                <c:pt idx="1568">
                  <c:v>0</c:v>
                </c:pt>
                <c:pt idx="1569">
                  <c:v>0</c:v>
                </c:pt>
                <c:pt idx="1570">
                  <c:v>0</c:v>
                </c:pt>
                <c:pt idx="1571">
                  <c:v>0</c:v>
                </c:pt>
                <c:pt idx="1572">
                  <c:v>0</c:v>
                </c:pt>
                <c:pt idx="1573">
                  <c:v>0</c:v>
                </c:pt>
                <c:pt idx="1574">
                  <c:v>0</c:v>
                </c:pt>
                <c:pt idx="1575">
                  <c:v>0</c:v>
                </c:pt>
                <c:pt idx="1576">
                  <c:v>0</c:v>
                </c:pt>
                <c:pt idx="1577">
                  <c:v>0</c:v>
                </c:pt>
                <c:pt idx="1578">
                  <c:v>0</c:v>
                </c:pt>
                <c:pt idx="1579">
                  <c:v>0</c:v>
                </c:pt>
                <c:pt idx="1580">
                  <c:v>0</c:v>
                </c:pt>
                <c:pt idx="1581">
                  <c:v>0</c:v>
                </c:pt>
                <c:pt idx="1582">
                  <c:v>0</c:v>
                </c:pt>
                <c:pt idx="1583">
                  <c:v>0</c:v>
                </c:pt>
                <c:pt idx="1584">
                  <c:v>0</c:v>
                </c:pt>
                <c:pt idx="1585">
                  <c:v>0</c:v>
                </c:pt>
                <c:pt idx="1586">
                  <c:v>0</c:v>
                </c:pt>
                <c:pt idx="1587">
                  <c:v>0</c:v>
                </c:pt>
                <c:pt idx="1588">
                  <c:v>0</c:v>
                </c:pt>
                <c:pt idx="1589">
                  <c:v>0</c:v>
                </c:pt>
                <c:pt idx="1590">
                  <c:v>0</c:v>
                </c:pt>
                <c:pt idx="1591">
                  <c:v>0</c:v>
                </c:pt>
                <c:pt idx="1592">
                  <c:v>0</c:v>
                </c:pt>
                <c:pt idx="1593">
                  <c:v>0</c:v>
                </c:pt>
                <c:pt idx="1594">
                  <c:v>0</c:v>
                </c:pt>
                <c:pt idx="1595">
                  <c:v>0</c:v>
                </c:pt>
                <c:pt idx="1596">
                  <c:v>0</c:v>
                </c:pt>
                <c:pt idx="1597">
                  <c:v>0</c:v>
                </c:pt>
                <c:pt idx="1598">
                  <c:v>0</c:v>
                </c:pt>
                <c:pt idx="1599">
                  <c:v>0</c:v>
                </c:pt>
                <c:pt idx="1600">
                  <c:v>0</c:v>
                </c:pt>
                <c:pt idx="1601">
                  <c:v>0</c:v>
                </c:pt>
                <c:pt idx="1602">
                  <c:v>0</c:v>
                </c:pt>
                <c:pt idx="1603">
                  <c:v>0</c:v>
                </c:pt>
                <c:pt idx="1604">
                  <c:v>0</c:v>
                </c:pt>
                <c:pt idx="1605">
                  <c:v>0</c:v>
                </c:pt>
                <c:pt idx="1606">
                  <c:v>0</c:v>
                </c:pt>
                <c:pt idx="1607">
                  <c:v>0</c:v>
                </c:pt>
                <c:pt idx="1608">
                  <c:v>0</c:v>
                </c:pt>
                <c:pt idx="1609">
                  <c:v>0</c:v>
                </c:pt>
                <c:pt idx="1610">
                  <c:v>0</c:v>
                </c:pt>
                <c:pt idx="1611">
                  <c:v>0</c:v>
                </c:pt>
                <c:pt idx="1612">
                  <c:v>0</c:v>
                </c:pt>
                <c:pt idx="1613">
                  <c:v>0</c:v>
                </c:pt>
                <c:pt idx="1614">
                  <c:v>0</c:v>
                </c:pt>
                <c:pt idx="1615">
                  <c:v>0</c:v>
                </c:pt>
                <c:pt idx="1616">
                  <c:v>0</c:v>
                </c:pt>
                <c:pt idx="1617">
                  <c:v>0</c:v>
                </c:pt>
                <c:pt idx="1618">
                  <c:v>0</c:v>
                </c:pt>
                <c:pt idx="1619">
                  <c:v>0</c:v>
                </c:pt>
                <c:pt idx="1620">
                  <c:v>0</c:v>
                </c:pt>
                <c:pt idx="1621">
                  <c:v>0</c:v>
                </c:pt>
                <c:pt idx="1622">
                  <c:v>0</c:v>
                </c:pt>
                <c:pt idx="1623">
                  <c:v>0</c:v>
                </c:pt>
                <c:pt idx="1624">
                  <c:v>0</c:v>
                </c:pt>
                <c:pt idx="1625">
                  <c:v>0</c:v>
                </c:pt>
                <c:pt idx="1626">
                  <c:v>0</c:v>
                </c:pt>
                <c:pt idx="1627">
                  <c:v>0</c:v>
                </c:pt>
                <c:pt idx="1628">
                  <c:v>0</c:v>
                </c:pt>
                <c:pt idx="1629">
                  <c:v>0</c:v>
                </c:pt>
                <c:pt idx="1630">
                  <c:v>0</c:v>
                </c:pt>
                <c:pt idx="1631">
                  <c:v>0</c:v>
                </c:pt>
                <c:pt idx="1632">
                  <c:v>0</c:v>
                </c:pt>
                <c:pt idx="1633">
                  <c:v>0</c:v>
                </c:pt>
                <c:pt idx="1634">
                  <c:v>0</c:v>
                </c:pt>
                <c:pt idx="1635">
                  <c:v>0</c:v>
                </c:pt>
                <c:pt idx="1636">
                  <c:v>0</c:v>
                </c:pt>
                <c:pt idx="1637">
                  <c:v>0</c:v>
                </c:pt>
                <c:pt idx="1638">
                  <c:v>0</c:v>
                </c:pt>
                <c:pt idx="1639">
                  <c:v>0</c:v>
                </c:pt>
                <c:pt idx="1640">
                  <c:v>0</c:v>
                </c:pt>
                <c:pt idx="1641">
                  <c:v>0</c:v>
                </c:pt>
                <c:pt idx="1642">
                  <c:v>0</c:v>
                </c:pt>
                <c:pt idx="1643">
                  <c:v>0</c:v>
                </c:pt>
                <c:pt idx="1644">
                  <c:v>0</c:v>
                </c:pt>
                <c:pt idx="1645">
                  <c:v>0</c:v>
                </c:pt>
                <c:pt idx="1646">
                  <c:v>0</c:v>
                </c:pt>
                <c:pt idx="1647">
                  <c:v>0</c:v>
                </c:pt>
                <c:pt idx="1648">
                  <c:v>0</c:v>
                </c:pt>
                <c:pt idx="1649">
                  <c:v>0</c:v>
                </c:pt>
                <c:pt idx="1650">
                  <c:v>0</c:v>
                </c:pt>
                <c:pt idx="1651">
                  <c:v>0</c:v>
                </c:pt>
                <c:pt idx="1652">
                  <c:v>0</c:v>
                </c:pt>
                <c:pt idx="1653">
                  <c:v>0</c:v>
                </c:pt>
                <c:pt idx="1654">
                  <c:v>0</c:v>
                </c:pt>
                <c:pt idx="1655">
                  <c:v>0</c:v>
                </c:pt>
                <c:pt idx="1656">
                  <c:v>0</c:v>
                </c:pt>
                <c:pt idx="1657">
                  <c:v>0</c:v>
                </c:pt>
                <c:pt idx="1658">
                  <c:v>0</c:v>
                </c:pt>
                <c:pt idx="1659">
                  <c:v>0</c:v>
                </c:pt>
                <c:pt idx="1660">
                  <c:v>0</c:v>
                </c:pt>
                <c:pt idx="1661">
                  <c:v>0</c:v>
                </c:pt>
                <c:pt idx="1662">
                  <c:v>0</c:v>
                </c:pt>
                <c:pt idx="1663">
                  <c:v>0</c:v>
                </c:pt>
                <c:pt idx="1664">
                  <c:v>0</c:v>
                </c:pt>
                <c:pt idx="1665">
                  <c:v>0</c:v>
                </c:pt>
                <c:pt idx="1666">
                  <c:v>0</c:v>
                </c:pt>
                <c:pt idx="1667">
                  <c:v>0</c:v>
                </c:pt>
                <c:pt idx="1668">
                  <c:v>0</c:v>
                </c:pt>
                <c:pt idx="1669">
                  <c:v>0</c:v>
                </c:pt>
                <c:pt idx="1670">
                  <c:v>0</c:v>
                </c:pt>
                <c:pt idx="1671">
                  <c:v>0</c:v>
                </c:pt>
                <c:pt idx="1672">
                  <c:v>0</c:v>
                </c:pt>
                <c:pt idx="1673">
                  <c:v>0</c:v>
                </c:pt>
                <c:pt idx="1674">
                  <c:v>0</c:v>
                </c:pt>
                <c:pt idx="1675">
                  <c:v>0</c:v>
                </c:pt>
                <c:pt idx="1676">
                  <c:v>0</c:v>
                </c:pt>
                <c:pt idx="1677">
                  <c:v>0</c:v>
                </c:pt>
                <c:pt idx="1678">
                  <c:v>0</c:v>
                </c:pt>
                <c:pt idx="1679">
                  <c:v>0</c:v>
                </c:pt>
                <c:pt idx="1680">
                  <c:v>0</c:v>
                </c:pt>
                <c:pt idx="1681">
                  <c:v>0</c:v>
                </c:pt>
                <c:pt idx="1682">
                  <c:v>0</c:v>
                </c:pt>
                <c:pt idx="1683">
                  <c:v>0</c:v>
                </c:pt>
                <c:pt idx="1684">
                  <c:v>0</c:v>
                </c:pt>
                <c:pt idx="1685">
                  <c:v>0</c:v>
                </c:pt>
                <c:pt idx="1686">
                  <c:v>0</c:v>
                </c:pt>
                <c:pt idx="1687">
                  <c:v>0</c:v>
                </c:pt>
                <c:pt idx="1688">
                  <c:v>0</c:v>
                </c:pt>
                <c:pt idx="1689">
                  <c:v>0</c:v>
                </c:pt>
                <c:pt idx="1690">
                  <c:v>0</c:v>
                </c:pt>
                <c:pt idx="1691">
                  <c:v>0</c:v>
                </c:pt>
                <c:pt idx="1692">
                  <c:v>0</c:v>
                </c:pt>
                <c:pt idx="1693">
                  <c:v>0</c:v>
                </c:pt>
                <c:pt idx="1694">
                  <c:v>0</c:v>
                </c:pt>
                <c:pt idx="1695">
                  <c:v>0</c:v>
                </c:pt>
                <c:pt idx="1696">
                  <c:v>0</c:v>
                </c:pt>
                <c:pt idx="1697">
                  <c:v>0</c:v>
                </c:pt>
                <c:pt idx="1698">
                  <c:v>0</c:v>
                </c:pt>
                <c:pt idx="1699">
                  <c:v>0</c:v>
                </c:pt>
                <c:pt idx="1700">
                  <c:v>0</c:v>
                </c:pt>
                <c:pt idx="1701">
                  <c:v>0</c:v>
                </c:pt>
                <c:pt idx="1702">
                  <c:v>0</c:v>
                </c:pt>
                <c:pt idx="1703">
                  <c:v>0</c:v>
                </c:pt>
                <c:pt idx="1704">
                  <c:v>0</c:v>
                </c:pt>
                <c:pt idx="1705">
                  <c:v>0</c:v>
                </c:pt>
                <c:pt idx="1706">
                  <c:v>0</c:v>
                </c:pt>
                <c:pt idx="1707">
                  <c:v>0</c:v>
                </c:pt>
                <c:pt idx="1708">
                  <c:v>0</c:v>
                </c:pt>
                <c:pt idx="1709">
                  <c:v>0</c:v>
                </c:pt>
                <c:pt idx="1710">
                  <c:v>0</c:v>
                </c:pt>
                <c:pt idx="1711">
                  <c:v>0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0</c:v>
                </c:pt>
                <c:pt idx="1733">
                  <c:v>0</c:v>
                </c:pt>
                <c:pt idx="1734">
                  <c:v>0</c:v>
                </c:pt>
                <c:pt idx="1735">
                  <c:v>0</c:v>
                </c:pt>
                <c:pt idx="1736">
                  <c:v>0</c:v>
                </c:pt>
                <c:pt idx="1737">
                  <c:v>0</c:v>
                </c:pt>
                <c:pt idx="1738">
                  <c:v>0</c:v>
                </c:pt>
                <c:pt idx="1739">
                  <c:v>0</c:v>
                </c:pt>
                <c:pt idx="1740">
                  <c:v>0</c:v>
                </c:pt>
                <c:pt idx="1741">
                  <c:v>0</c:v>
                </c:pt>
                <c:pt idx="1742">
                  <c:v>0</c:v>
                </c:pt>
                <c:pt idx="1743">
                  <c:v>0</c:v>
                </c:pt>
                <c:pt idx="1744">
                  <c:v>0</c:v>
                </c:pt>
                <c:pt idx="1745">
                  <c:v>0</c:v>
                </c:pt>
                <c:pt idx="1746">
                  <c:v>0</c:v>
                </c:pt>
                <c:pt idx="1747">
                  <c:v>0</c:v>
                </c:pt>
                <c:pt idx="1748">
                  <c:v>0</c:v>
                </c:pt>
                <c:pt idx="1749">
                  <c:v>0</c:v>
                </c:pt>
                <c:pt idx="1750">
                  <c:v>0</c:v>
                </c:pt>
                <c:pt idx="1751">
                  <c:v>0</c:v>
                </c:pt>
                <c:pt idx="1752">
                  <c:v>0</c:v>
                </c:pt>
                <c:pt idx="1753">
                  <c:v>0</c:v>
                </c:pt>
                <c:pt idx="1754">
                  <c:v>0</c:v>
                </c:pt>
                <c:pt idx="1755">
                  <c:v>0</c:v>
                </c:pt>
                <c:pt idx="1756">
                  <c:v>0</c:v>
                </c:pt>
                <c:pt idx="1757">
                  <c:v>0</c:v>
                </c:pt>
                <c:pt idx="1758">
                  <c:v>0</c:v>
                </c:pt>
                <c:pt idx="1759">
                  <c:v>0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</c:v>
                </c:pt>
                <c:pt idx="1764">
                  <c:v>0</c:v>
                </c:pt>
                <c:pt idx="1765">
                  <c:v>0</c:v>
                </c:pt>
                <c:pt idx="1766">
                  <c:v>0</c:v>
                </c:pt>
                <c:pt idx="1767">
                  <c:v>0</c:v>
                </c:pt>
                <c:pt idx="1768">
                  <c:v>0</c:v>
                </c:pt>
                <c:pt idx="1769">
                  <c:v>0</c:v>
                </c:pt>
                <c:pt idx="1770">
                  <c:v>0</c:v>
                </c:pt>
                <c:pt idx="1771">
                  <c:v>0</c:v>
                </c:pt>
                <c:pt idx="1772">
                  <c:v>0</c:v>
                </c:pt>
                <c:pt idx="1773">
                  <c:v>0</c:v>
                </c:pt>
                <c:pt idx="1774">
                  <c:v>0</c:v>
                </c:pt>
                <c:pt idx="1775">
                  <c:v>0</c:v>
                </c:pt>
                <c:pt idx="1776">
                  <c:v>0</c:v>
                </c:pt>
                <c:pt idx="1777">
                  <c:v>0</c:v>
                </c:pt>
                <c:pt idx="1778">
                  <c:v>0</c:v>
                </c:pt>
                <c:pt idx="1779">
                  <c:v>0</c:v>
                </c:pt>
                <c:pt idx="1780">
                  <c:v>0</c:v>
                </c:pt>
                <c:pt idx="1781">
                  <c:v>0</c:v>
                </c:pt>
                <c:pt idx="1782">
                  <c:v>0</c:v>
                </c:pt>
                <c:pt idx="1783">
                  <c:v>0</c:v>
                </c:pt>
                <c:pt idx="1784">
                  <c:v>0</c:v>
                </c:pt>
                <c:pt idx="1785">
                  <c:v>0</c:v>
                </c:pt>
                <c:pt idx="1786">
                  <c:v>0</c:v>
                </c:pt>
                <c:pt idx="1787">
                  <c:v>0</c:v>
                </c:pt>
                <c:pt idx="1788">
                  <c:v>0</c:v>
                </c:pt>
                <c:pt idx="1789">
                  <c:v>0</c:v>
                </c:pt>
                <c:pt idx="1790">
                  <c:v>0</c:v>
                </c:pt>
                <c:pt idx="1791">
                  <c:v>0</c:v>
                </c:pt>
                <c:pt idx="1792">
                  <c:v>0</c:v>
                </c:pt>
                <c:pt idx="1793">
                  <c:v>0</c:v>
                </c:pt>
                <c:pt idx="1794">
                  <c:v>0</c:v>
                </c:pt>
                <c:pt idx="1795">
                  <c:v>0</c:v>
                </c:pt>
                <c:pt idx="1796">
                  <c:v>0</c:v>
                </c:pt>
                <c:pt idx="1797">
                  <c:v>0</c:v>
                </c:pt>
                <c:pt idx="1798">
                  <c:v>0</c:v>
                </c:pt>
                <c:pt idx="1799">
                  <c:v>0</c:v>
                </c:pt>
                <c:pt idx="1800">
                  <c:v>0</c:v>
                </c:pt>
                <c:pt idx="1801">
                  <c:v>0</c:v>
                </c:pt>
                <c:pt idx="1802">
                  <c:v>0</c:v>
                </c:pt>
                <c:pt idx="1803">
                  <c:v>0</c:v>
                </c:pt>
                <c:pt idx="1804">
                  <c:v>0</c:v>
                </c:pt>
                <c:pt idx="1805">
                  <c:v>0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0</c:v>
                </c:pt>
                <c:pt idx="1810">
                  <c:v>0</c:v>
                </c:pt>
                <c:pt idx="1811">
                  <c:v>0</c:v>
                </c:pt>
                <c:pt idx="1812">
                  <c:v>0</c:v>
                </c:pt>
                <c:pt idx="1813">
                  <c:v>0</c:v>
                </c:pt>
                <c:pt idx="1814">
                  <c:v>0</c:v>
                </c:pt>
                <c:pt idx="1815">
                  <c:v>0</c:v>
                </c:pt>
                <c:pt idx="1816">
                  <c:v>0</c:v>
                </c:pt>
                <c:pt idx="1817">
                  <c:v>0</c:v>
                </c:pt>
                <c:pt idx="1818">
                  <c:v>0</c:v>
                </c:pt>
                <c:pt idx="1819">
                  <c:v>0</c:v>
                </c:pt>
                <c:pt idx="1820">
                  <c:v>0</c:v>
                </c:pt>
                <c:pt idx="1821">
                  <c:v>0</c:v>
                </c:pt>
                <c:pt idx="1822">
                  <c:v>0</c:v>
                </c:pt>
                <c:pt idx="1823">
                  <c:v>0</c:v>
                </c:pt>
                <c:pt idx="1824">
                  <c:v>0</c:v>
                </c:pt>
                <c:pt idx="1825">
                  <c:v>0</c:v>
                </c:pt>
                <c:pt idx="1826">
                  <c:v>0</c:v>
                </c:pt>
                <c:pt idx="1827">
                  <c:v>0</c:v>
                </c:pt>
                <c:pt idx="1828">
                  <c:v>0</c:v>
                </c:pt>
                <c:pt idx="1829">
                  <c:v>0</c:v>
                </c:pt>
                <c:pt idx="1830">
                  <c:v>0</c:v>
                </c:pt>
                <c:pt idx="1831">
                  <c:v>0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0</c:v>
                </c:pt>
                <c:pt idx="1836">
                  <c:v>0</c:v>
                </c:pt>
                <c:pt idx="1837">
                  <c:v>0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0</c:v>
                </c:pt>
                <c:pt idx="1842">
                  <c:v>0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0</c:v>
                </c:pt>
                <c:pt idx="1864">
                  <c:v>0</c:v>
                </c:pt>
                <c:pt idx="1865">
                  <c:v>0</c:v>
                </c:pt>
                <c:pt idx="1866">
                  <c:v>0</c:v>
                </c:pt>
                <c:pt idx="1867">
                  <c:v>0</c:v>
                </c:pt>
                <c:pt idx="1868">
                  <c:v>0</c:v>
                </c:pt>
                <c:pt idx="1869">
                  <c:v>0</c:v>
                </c:pt>
                <c:pt idx="1870">
                  <c:v>0</c:v>
                </c:pt>
                <c:pt idx="1871">
                  <c:v>0</c:v>
                </c:pt>
                <c:pt idx="1872">
                  <c:v>0</c:v>
                </c:pt>
                <c:pt idx="1873">
                  <c:v>0</c:v>
                </c:pt>
                <c:pt idx="1874">
                  <c:v>0</c:v>
                </c:pt>
                <c:pt idx="1875">
                  <c:v>0</c:v>
                </c:pt>
                <c:pt idx="1876">
                  <c:v>0</c:v>
                </c:pt>
                <c:pt idx="1877">
                  <c:v>0</c:v>
                </c:pt>
                <c:pt idx="1878">
                  <c:v>0</c:v>
                </c:pt>
                <c:pt idx="1879">
                  <c:v>0</c:v>
                </c:pt>
                <c:pt idx="1880">
                  <c:v>0</c:v>
                </c:pt>
                <c:pt idx="1881">
                  <c:v>0</c:v>
                </c:pt>
                <c:pt idx="1882">
                  <c:v>0</c:v>
                </c:pt>
                <c:pt idx="1883">
                  <c:v>0</c:v>
                </c:pt>
                <c:pt idx="1884">
                  <c:v>0</c:v>
                </c:pt>
                <c:pt idx="1885">
                  <c:v>0</c:v>
                </c:pt>
                <c:pt idx="1886">
                  <c:v>0</c:v>
                </c:pt>
                <c:pt idx="1887">
                  <c:v>0</c:v>
                </c:pt>
                <c:pt idx="1888">
                  <c:v>0</c:v>
                </c:pt>
                <c:pt idx="1889">
                  <c:v>0</c:v>
                </c:pt>
                <c:pt idx="1890">
                  <c:v>0</c:v>
                </c:pt>
                <c:pt idx="1891">
                  <c:v>0</c:v>
                </c:pt>
                <c:pt idx="1892">
                  <c:v>0</c:v>
                </c:pt>
                <c:pt idx="1893">
                  <c:v>0</c:v>
                </c:pt>
                <c:pt idx="1894">
                  <c:v>0</c:v>
                </c:pt>
                <c:pt idx="1895">
                  <c:v>0</c:v>
                </c:pt>
                <c:pt idx="1896">
                  <c:v>0</c:v>
                </c:pt>
                <c:pt idx="1897">
                  <c:v>0</c:v>
                </c:pt>
                <c:pt idx="1898">
                  <c:v>0</c:v>
                </c:pt>
                <c:pt idx="1899">
                  <c:v>0</c:v>
                </c:pt>
                <c:pt idx="1900">
                  <c:v>0</c:v>
                </c:pt>
                <c:pt idx="1901">
                  <c:v>0</c:v>
                </c:pt>
                <c:pt idx="1902">
                  <c:v>0</c:v>
                </c:pt>
                <c:pt idx="1903">
                  <c:v>0</c:v>
                </c:pt>
                <c:pt idx="1904">
                  <c:v>0</c:v>
                </c:pt>
                <c:pt idx="1905">
                  <c:v>0</c:v>
                </c:pt>
                <c:pt idx="1906">
                  <c:v>0</c:v>
                </c:pt>
                <c:pt idx="1907">
                  <c:v>0</c:v>
                </c:pt>
                <c:pt idx="1908">
                  <c:v>0</c:v>
                </c:pt>
                <c:pt idx="1909">
                  <c:v>0</c:v>
                </c:pt>
                <c:pt idx="1910">
                  <c:v>0</c:v>
                </c:pt>
                <c:pt idx="1911">
                  <c:v>0</c:v>
                </c:pt>
                <c:pt idx="1912">
                  <c:v>0</c:v>
                </c:pt>
                <c:pt idx="1913">
                  <c:v>0</c:v>
                </c:pt>
                <c:pt idx="1914">
                  <c:v>0</c:v>
                </c:pt>
                <c:pt idx="1915">
                  <c:v>0</c:v>
                </c:pt>
                <c:pt idx="1916">
                  <c:v>0</c:v>
                </c:pt>
                <c:pt idx="1917">
                  <c:v>0</c:v>
                </c:pt>
                <c:pt idx="1918">
                  <c:v>0</c:v>
                </c:pt>
                <c:pt idx="1919">
                  <c:v>0</c:v>
                </c:pt>
                <c:pt idx="1920">
                  <c:v>0</c:v>
                </c:pt>
                <c:pt idx="1921">
                  <c:v>0</c:v>
                </c:pt>
                <c:pt idx="1922">
                  <c:v>0</c:v>
                </c:pt>
                <c:pt idx="1923">
                  <c:v>0</c:v>
                </c:pt>
                <c:pt idx="1924">
                  <c:v>0</c:v>
                </c:pt>
                <c:pt idx="1925">
                  <c:v>0</c:v>
                </c:pt>
                <c:pt idx="1926">
                  <c:v>0</c:v>
                </c:pt>
                <c:pt idx="1927">
                  <c:v>0</c:v>
                </c:pt>
                <c:pt idx="1928">
                  <c:v>0</c:v>
                </c:pt>
                <c:pt idx="1929">
                  <c:v>0</c:v>
                </c:pt>
                <c:pt idx="1930">
                  <c:v>0</c:v>
                </c:pt>
                <c:pt idx="1931">
                  <c:v>0</c:v>
                </c:pt>
                <c:pt idx="1932">
                  <c:v>0</c:v>
                </c:pt>
                <c:pt idx="1933">
                  <c:v>0</c:v>
                </c:pt>
                <c:pt idx="1934">
                  <c:v>0</c:v>
                </c:pt>
                <c:pt idx="1935">
                  <c:v>0</c:v>
                </c:pt>
                <c:pt idx="1936">
                  <c:v>0</c:v>
                </c:pt>
                <c:pt idx="1937">
                  <c:v>0</c:v>
                </c:pt>
                <c:pt idx="1938">
                  <c:v>0</c:v>
                </c:pt>
                <c:pt idx="1939">
                  <c:v>0</c:v>
                </c:pt>
                <c:pt idx="1940">
                  <c:v>0</c:v>
                </c:pt>
                <c:pt idx="1941">
                  <c:v>0</c:v>
                </c:pt>
                <c:pt idx="1942">
                  <c:v>0</c:v>
                </c:pt>
                <c:pt idx="1943">
                  <c:v>0</c:v>
                </c:pt>
                <c:pt idx="1944">
                  <c:v>0</c:v>
                </c:pt>
                <c:pt idx="1945">
                  <c:v>0</c:v>
                </c:pt>
                <c:pt idx="1946">
                  <c:v>0</c:v>
                </c:pt>
                <c:pt idx="1947">
                  <c:v>0</c:v>
                </c:pt>
                <c:pt idx="1948">
                  <c:v>0</c:v>
                </c:pt>
                <c:pt idx="1949">
                  <c:v>0</c:v>
                </c:pt>
                <c:pt idx="1950">
                  <c:v>0</c:v>
                </c:pt>
                <c:pt idx="1951">
                  <c:v>0</c:v>
                </c:pt>
                <c:pt idx="1952">
                  <c:v>0</c:v>
                </c:pt>
                <c:pt idx="1953">
                  <c:v>0</c:v>
                </c:pt>
                <c:pt idx="1954">
                  <c:v>0</c:v>
                </c:pt>
                <c:pt idx="1955">
                  <c:v>0</c:v>
                </c:pt>
                <c:pt idx="1956">
                  <c:v>0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0</c:v>
                </c:pt>
                <c:pt idx="1961">
                  <c:v>0</c:v>
                </c:pt>
                <c:pt idx="1962">
                  <c:v>0</c:v>
                </c:pt>
                <c:pt idx="1963">
                  <c:v>0</c:v>
                </c:pt>
                <c:pt idx="1964">
                  <c:v>0</c:v>
                </c:pt>
                <c:pt idx="1965">
                  <c:v>0</c:v>
                </c:pt>
                <c:pt idx="1966">
                  <c:v>0</c:v>
                </c:pt>
                <c:pt idx="1967">
                  <c:v>0</c:v>
                </c:pt>
                <c:pt idx="1968">
                  <c:v>0</c:v>
                </c:pt>
                <c:pt idx="1969">
                  <c:v>0</c:v>
                </c:pt>
                <c:pt idx="1970">
                  <c:v>0</c:v>
                </c:pt>
                <c:pt idx="1971">
                  <c:v>0</c:v>
                </c:pt>
                <c:pt idx="1972">
                  <c:v>0</c:v>
                </c:pt>
                <c:pt idx="1973">
                  <c:v>0</c:v>
                </c:pt>
                <c:pt idx="1974">
                  <c:v>0</c:v>
                </c:pt>
                <c:pt idx="1975">
                  <c:v>0</c:v>
                </c:pt>
                <c:pt idx="1976">
                  <c:v>0</c:v>
                </c:pt>
                <c:pt idx="1977">
                  <c:v>0</c:v>
                </c:pt>
                <c:pt idx="1978">
                  <c:v>0</c:v>
                </c:pt>
                <c:pt idx="1979">
                  <c:v>0</c:v>
                </c:pt>
                <c:pt idx="1980">
                  <c:v>0</c:v>
                </c:pt>
                <c:pt idx="1981">
                  <c:v>0</c:v>
                </c:pt>
                <c:pt idx="1982">
                  <c:v>0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0</c:v>
                </c:pt>
                <c:pt idx="1987">
                  <c:v>0</c:v>
                </c:pt>
                <c:pt idx="1988">
                  <c:v>0</c:v>
                </c:pt>
                <c:pt idx="1989">
                  <c:v>0</c:v>
                </c:pt>
                <c:pt idx="1990">
                  <c:v>0</c:v>
                </c:pt>
                <c:pt idx="1991">
                  <c:v>0</c:v>
                </c:pt>
                <c:pt idx="1992">
                  <c:v>0</c:v>
                </c:pt>
                <c:pt idx="1993">
                  <c:v>0</c:v>
                </c:pt>
                <c:pt idx="1994">
                  <c:v>0</c:v>
                </c:pt>
                <c:pt idx="1995">
                  <c:v>0</c:v>
                </c:pt>
                <c:pt idx="1996">
                  <c:v>0</c:v>
                </c:pt>
                <c:pt idx="1997">
                  <c:v>0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0</c:v>
                </c:pt>
                <c:pt idx="2009">
                  <c:v>0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</c:v>
                </c:pt>
                <c:pt idx="2015">
                  <c:v>0</c:v>
                </c:pt>
                <c:pt idx="2016">
                  <c:v>0</c:v>
                </c:pt>
                <c:pt idx="2017">
                  <c:v>0</c:v>
                </c:pt>
                <c:pt idx="2018">
                  <c:v>0</c:v>
                </c:pt>
                <c:pt idx="2019">
                  <c:v>0</c:v>
                </c:pt>
                <c:pt idx="2020">
                  <c:v>0</c:v>
                </c:pt>
                <c:pt idx="2021">
                  <c:v>0</c:v>
                </c:pt>
                <c:pt idx="2022">
                  <c:v>0</c:v>
                </c:pt>
                <c:pt idx="2023">
                  <c:v>0</c:v>
                </c:pt>
                <c:pt idx="2024">
                  <c:v>0</c:v>
                </c:pt>
                <c:pt idx="2025">
                  <c:v>0</c:v>
                </c:pt>
                <c:pt idx="2026">
                  <c:v>0</c:v>
                </c:pt>
                <c:pt idx="2027">
                  <c:v>0</c:v>
                </c:pt>
                <c:pt idx="2028">
                  <c:v>0</c:v>
                </c:pt>
                <c:pt idx="2029">
                  <c:v>0</c:v>
                </c:pt>
                <c:pt idx="2030">
                  <c:v>0</c:v>
                </c:pt>
                <c:pt idx="2031">
                  <c:v>0</c:v>
                </c:pt>
                <c:pt idx="2032">
                  <c:v>0</c:v>
                </c:pt>
                <c:pt idx="2033">
                  <c:v>0</c:v>
                </c:pt>
                <c:pt idx="2034">
                  <c:v>0</c:v>
                </c:pt>
                <c:pt idx="2035">
                  <c:v>0</c:v>
                </c:pt>
                <c:pt idx="2036">
                  <c:v>0</c:v>
                </c:pt>
                <c:pt idx="2037">
                  <c:v>0</c:v>
                </c:pt>
                <c:pt idx="2038">
                  <c:v>0</c:v>
                </c:pt>
                <c:pt idx="2039">
                  <c:v>0</c:v>
                </c:pt>
                <c:pt idx="2040">
                  <c:v>0</c:v>
                </c:pt>
                <c:pt idx="2041">
                  <c:v>0</c:v>
                </c:pt>
                <c:pt idx="2042">
                  <c:v>0</c:v>
                </c:pt>
                <c:pt idx="2043">
                  <c:v>0</c:v>
                </c:pt>
                <c:pt idx="2044">
                  <c:v>0</c:v>
                </c:pt>
                <c:pt idx="2045">
                  <c:v>0</c:v>
                </c:pt>
                <c:pt idx="2046">
                  <c:v>0</c:v>
                </c:pt>
                <c:pt idx="2047">
                  <c:v>0</c:v>
                </c:pt>
                <c:pt idx="2048">
                  <c:v>0</c:v>
                </c:pt>
                <c:pt idx="2049">
                  <c:v>0</c:v>
                </c:pt>
                <c:pt idx="2050">
                  <c:v>0</c:v>
                </c:pt>
                <c:pt idx="2051">
                  <c:v>0</c:v>
                </c:pt>
                <c:pt idx="2052">
                  <c:v>0</c:v>
                </c:pt>
                <c:pt idx="2053">
                  <c:v>0</c:v>
                </c:pt>
                <c:pt idx="2054">
                  <c:v>0</c:v>
                </c:pt>
                <c:pt idx="2055">
                  <c:v>0</c:v>
                </c:pt>
                <c:pt idx="2056">
                  <c:v>0</c:v>
                </c:pt>
                <c:pt idx="2057">
                  <c:v>0</c:v>
                </c:pt>
                <c:pt idx="2058">
                  <c:v>0</c:v>
                </c:pt>
                <c:pt idx="2059">
                  <c:v>0</c:v>
                </c:pt>
                <c:pt idx="2060">
                  <c:v>0</c:v>
                </c:pt>
                <c:pt idx="2061">
                  <c:v>0</c:v>
                </c:pt>
                <c:pt idx="2062">
                  <c:v>0</c:v>
                </c:pt>
                <c:pt idx="2063">
                  <c:v>0</c:v>
                </c:pt>
                <c:pt idx="2064">
                  <c:v>0</c:v>
                </c:pt>
                <c:pt idx="2065">
                  <c:v>0</c:v>
                </c:pt>
                <c:pt idx="2066">
                  <c:v>0</c:v>
                </c:pt>
                <c:pt idx="2067">
                  <c:v>0</c:v>
                </c:pt>
                <c:pt idx="2068">
                  <c:v>0</c:v>
                </c:pt>
                <c:pt idx="2069">
                  <c:v>0</c:v>
                </c:pt>
                <c:pt idx="2070">
                  <c:v>0</c:v>
                </c:pt>
                <c:pt idx="2071">
                  <c:v>0</c:v>
                </c:pt>
                <c:pt idx="2072">
                  <c:v>0</c:v>
                </c:pt>
                <c:pt idx="2073">
                  <c:v>0</c:v>
                </c:pt>
                <c:pt idx="2074">
                  <c:v>0</c:v>
                </c:pt>
                <c:pt idx="2075">
                  <c:v>0</c:v>
                </c:pt>
                <c:pt idx="2076">
                  <c:v>0</c:v>
                </c:pt>
                <c:pt idx="2077">
                  <c:v>0</c:v>
                </c:pt>
                <c:pt idx="2078">
                  <c:v>0</c:v>
                </c:pt>
                <c:pt idx="2079">
                  <c:v>0</c:v>
                </c:pt>
                <c:pt idx="2080">
                  <c:v>0</c:v>
                </c:pt>
                <c:pt idx="2081">
                  <c:v>0</c:v>
                </c:pt>
                <c:pt idx="2082">
                  <c:v>0</c:v>
                </c:pt>
                <c:pt idx="2083">
                  <c:v>0</c:v>
                </c:pt>
                <c:pt idx="2084">
                  <c:v>0</c:v>
                </c:pt>
                <c:pt idx="2085">
                  <c:v>0</c:v>
                </c:pt>
                <c:pt idx="2086">
                  <c:v>0</c:v>
                </c:pt>
                <c:pt idx="2087">
                  <c:v>0</c:v>
                </c:pt>
                <c:pt idx="2088">
                  <c:v>0</c:v>
                </c:pt>
                <c:pt idx="2089">
                  <c:v>0</c:v>
                </c:pt>
                <c:pt idx="2090">
                  <c:v>0</c:v>
                </c:pt>
                <c:pt idx="2091">
                  <c:v>0</c:v>
                </c:pt>
                <c:pt idx="2092">
                  <c:v>0</c:v>
                </c:pt>
                <c:pt idx="2093">
                  <c:v>0</c:v>
                </c:pt>
                <c:pt idx="2094">
                  <c:v>0</c:v>
                </c:pt>
                <c:pt idx="2095">
                  <c:v>0</c:v>
                </c:pt>
                <c:pt idx="2096">
                  <c:v>0</c:v>
                </c:pt>
                <c:pt idx="2097">
                  <c:v>0</c:v>
                </c:pt>
                <c:pt idx="2098">
                  <c:v>0</c:v>
                </c:pt>
                <c:pt idx="2099">
                  <c:v>0</c:v>
                </c:pt>
                <c:pt idx="2100">
                  <c:v>0</c:v>
                </c:pt>
                <c:pt idx="2101">
                  <c:v>0</c:v>
                </c:pt>
                <c:pt idx="2102">
                  <c:v>0</c:v>
                </c:pt>
                <c:pt idx="2103">
                  <c:v>0</c:v>
                </c:pt>
                <c:pt idx="2104">
                  <c:v>0</c:v>
                </c:pt>
                <c:pt idx="2105">
                  <c:v>0</c:v>
                </c:pt>
                <c:pt idx="2106">
                  <c:v>0</c:v>
                </c:pt>
                <c:pt idx="2107">
                  <c:v>0</c:v>
                </c:pt>
                <c:pt idx="2108">
                  <c:v>0</c:v>
                </c:pt>
                <c:pt idx="2109">
                  <c:v>0</c:v>
                </c:pt>
                <c:pt idx="2110">
                  <c:v>0</c:v>
                </c:pt>
                <c:pt idx="2111">
                  <c:v>0</c:v>
                </c:pt>
                <c:pt idx="2112">
                  <c:v>0</c:v>
                </c:pt>
                <c:pt idx="2113">
                  <c:v>0</c:v>
                </c:pt>
                <c:pt idx="2114">
                  <c:v>0</c:v>
                </c:pt>
                <c:pt idx="2115">
                  <c:v>0</c:v>
                </c:pt>
                <c:pt idx="2116">
                  <c:v>0</c:v>
                </c:pt>
                <c:pt idx="2117">
                  <c:v>0</c:v>
                </c:pt>
                <c:pt idx="2118">
                  <c:v>0</c:v>
                </c:pt>
                <c:pt idx="2119">
                  <c:v>0</c:v>
                </c:pt>
                <c:pt idx="2120">
                  <c:v>0</c:v>
                </c:pt>
                <c:pt idx="2121">
                  <c:v>0</c:v>
                </c:pt>
                <c:pt idx="2122">
                  <c:v>0</c:v>
                </c:pt>
                <c:pt idx="2123">
                  <c:v>0</c:v>
                </c:pt>
                <c:pt idx="2124">
                  <c:v>0</c:v>
                </c:pt>
                <c:pt idx="2125">
                  <c:v>0</c:v>
                </c:pt>
                <c:pt idx="2126">
                  <c:v>0</c:v>
                </c:pt>
                <c:pt idx="2127">
                  <c:v>0</c:v>
                </c:pt>
                <c:pt idx="2128">
                  <c:v>0</c:v>
                </c:pt>
                <c:pt idx="2129">
                  <c:v>0</c:v>
                </c:pt>
                <c:pt idx="2130">
                  <c:v>0</c:v>
                </c:pt>
                <c:pt idx="2131">
                  <c:v>0</c:v>
                </c:pt>
                <c:pt idx="2132">
                  <c:v>0</c:v>
                </c:pt>
                <c:pt idx="2133">
                  <c:v>0</c:v>
                </c:pt>
                <c:pt idx="2134">
                  <c:v>0</c:v>
                </c:pt>
                <c:pt idx="2135">
                  <c:v>0</c:v>
                </c:pt>
                <c:pt idx="2136">
                  <c:v>0</c:v>
                </c:pt>
                <c:pt idx="2137">
                  <c:v>0</c:v>
                </c:pt>
                <c:pt idx="2138">
                  <c:v>0</c:v>
                </c:pt>
                <c:pt idx="2139">
                  <c:v>0</c:v>
                </c:pt>
                <c:pt idx="2140">
                  <c:v>0</c:v>
                </c:pt>
                <c:pt idx="2141">
                  <c:v>0</c:v>
                </c:pt>
                <c:pt idx="2142">
                  <c:v>0</c:v>
                </c:pt>
                <c:pt idx="2143">
                  <c:v>0</c:v>
                </c:pt>
                <c:pt idx="2144">
                  <c:v>0</c:v>
                </c:pt>
                <c:pt idx="2145">
                  <c:v>0</c:v>
                </c:pt>
                <c:pt idx="2146">
                  <c:v>0</c:v>
                </c:pt>
                <c:pt idx="2147">
                  <c:v>0</c:v>
                </c:pt>
                <c:pt idx="2148">
                  <c:v>0</c:v>
                </c:pt>
                <c:pt idx="2149">
                  <c:v>0</c:v>
                </c:pt>
                <c:pt idx="2150">
                  <c:v>0</c:v>
                </c:pt>
                <c:pt idx="2151">
                  <c:v>0</c:v>
                </c:pt>
                <c:pt idx="2152">
                  <c:v>0</c:v>
                </c:pt>
                <c:pt idx="2153">
                  <c:v>0</c:v>
                </c:pt>
                <c:pt idx="2154">
                  <c:v>0</c:v>
                </c:pt>
                <c:pt idx="2155">
                  <c:v>0</c:v>
                </c:pt>
                <c:pt idx="2156">
                  <c:v>0</c:v>
                </c:pt>
                <c:pt idx="2157">
                  <c:v>0</c:v>
                </c:pt>
                <c:pt idx="2158">
                  <c:v>0</c:v>
                </c:pt>
                <c:pt idx="2159">
                  <c:v>0</c:v>
                </c:pt>
                <c:pt idx="2160">
                  <c:v>0</c:v>
                </c:pt>
                <c:pt idx="2161">
                  <c:v>0</c:v>
                </c:pt>
                <c:pt idx="2162">
                  <c:v>0</c:v>
                </c:pt>
                <c:pt idx="2163">
                  <c:v>0</c:v>
                </c:pt>
                <c:pt idx="2164">
                  <c:v>0</c:v>
                </c:pt>
                <c:pt idx="2165">
                  <c:v>0</c:v>
                </c:pt>
                <c:pt idx="2166">
                  <c:v>0</c:v>
                </c:pt>
                <c:pt idx="2167">
                  <c:v>0</c:v>
                </c:pt>
                <c:pt idx="2168">
                  <c:v>0</c:v>
                </c:pt>
                <c:pt idx="2169">
                  <c:v>0</c:v>
                </c:pt>
                <c:pt idx="2170">
                  <c:v>0</c:v>
                </c:pt>
                <c:pt idx="2171">
                  <c:v>0</c:v>
                </c:pt>
                <c:pt idx="2172">
                  <c:v>0</c:v>
                </c:pt>
                <c:pt idx="2173">
                  <c:v>0</c:v>
                </c:pt>
                <c:pt idx="2174">
                  <c:v>0</c:v>
                </c:pt>
                <c:pt idx="2175">
                  <c:v>0</c:v>
                </c:pt>
                <c:pt idx="2176">
                  <c:v>0</c:v>
                </c:pt>
                <c:pt idx="2177">
                  <c:v>0</c:v>
                </c:pt>
                <c:pt idx="2178">
                  <c:v>0</c:v>
                </c:pt>
                <c:pt idx="2179">
                  <c:v>0</c:v>
                </c:pt>
                <c:pt idx="2180">
                  <c:v>0</c:v>
                </c:pt>
                <c:pt idx="2181">
                  <c:v>0</c:v>
                </c:pt>
                <c:pt idx="2182">
                  <c:v>0</c:v>
                </c:pt>
                <c:pt idx="2183">
                  <c:v>0</c:v>
                </c:pt>
                <c:pt idx="2184">
                  <c:v>0</c:v>
                </c:pt>
                <c:pt idx="2185">
                  <c:v>0</c:v>
                </c:pt>
                <c:pt idx="2186">
                  <c:v>0</c:v>
                </c:pt>
                <c:pt idx="2187">
                  <c:v>0</c:v>
                </c:pt>
                <c:pt idx="2188">
                  <c:v>0</c:v>
                </c:pt>
                <c:pt idx="2189">
                  <c:v>0</c:v>
                </c:pt>
                <c:pt idx="2190">
                  <c:v>0</c:v>
                </c:pt>
                <c:pt idx="2191">
                  <c:v>0</c:v>
                </c:pt>
                <c:pt idx="2192">
                  <c:v>0</c:v>
                </c:pt>
                <c:pt idx="2193">
                  <c:v>0</c:v>
                </c:pt>
                <c:pt idx="2194">
                  <c:v>0</c:v>
                </c:pt>
                <c:pt idx="2195">
                  <c:v>0</c:v>
                </c:pt>
                <c:pt idx="2196">
                  <c:v>0</c:v>
                </c:pt>
                <c:pt idx="2197">
                  <c:v>0</c:v>
                </c:pt>
                <c:pt idx="2198">
                  <c:v>0</c:v>
                </c:pt>
                <c:pt idx="2199">
                  <c:v>0</c:v>
                </c:pt>
                <c:pt idx="2200">
                  <c:v>0</c:v>
                </c:pt>
                <c:pt idx="2201">
                  <c:v>0</c:v>
                </c:pt>
                <c:pt idx="2202">
                  <c:v>0</c:v>
                </c:pt>
                <c:pt idx="2203">
                  <c:v>0</c:v>
                </c:pt>
                <c:pt idx="2204">
                  <c:v>0</c:v>
                </c:pt>
                <c:pt idx="2205">
                  <c:v>0</c:v>
                </c:pt>
                <c:pt idx="2206">
                  <c:v>0</c:v>
                </c:pt>
                <c:pt idx="2207">
                  <c:v>0</c:v>
                </c:pt>
                <c:pt idx="2208">
                  <c:v>0</c:v>
                </c:pt>
                <c:pt idx="2209">
                  <c:v>0</c:v>
                </c:pt>
                <c:pt idx="2210">
                  <c:v>0</c:v>
                </c:pt>
                <c:pt idx="2211">
                  <c:v>0</c:v>
                </c:pt>
                <c:pt idx="2212">
                  <c:v>0</c:v>
                </c:pt>
                <c:pt idx="2213">
                  <c:v>0</c:v>
                </c:pt>
                <c:pt idx="2214">
                  <c:v>0</c:v>
                </c:pt>
                <c:pt idx="2215">
                  <c:v>0</c:v>
                </c:pt>
                <c:pt idx="2216">
                  <c:v>0</c:v>
                </c:pt>
                <c:pt idx="2217">
                  <c:v>0</c:v>
                </c:pt>
                <c:pt idx="2218">
                  <c:v>0</c:v>
                </c:pt>
                <c:pt idx="2219">
                  <c:v>0</c:v>
                </c:pt>
                <c:pt idx="2220">
                  <c:v>0</c:v>
                </c:pt>
                <c:pt idx="2221">
                  <c:v>0</c:v>
                </c:pt>
                <c:pt idx="2222">
                  <c:v>0</c:v>
                </c:pt>
                <c:pt idx="2223">
                  <c:v>0</c:v>
                </c:pt>
                <c:pt idx="2224">
                  <c:v>0</c:v>
                </c:pt>
                <c:pt idx="2225">
                  <c:v>0</c:v>
                </c:pt>
                <c:pt idx="2226">
                  <c:v>0</c:v>
                </c:pt>
                <c:pt idx="2227">
                  <c:v>0</c:v>
                </c:pt>
                <c:pt idx="2228">
                  <c:v>0</c:v>
                </c:pt>
                <c:pt idx="2229">
                  <c:v>0</c:v>
                </c:pt>
                <c:pt idx="2230">
                  <c:v>0</c:v>
                </c:pt>
                <c:pt idx="2231">
                  <c:v>0</c:v>
                </c:pt>
                <c:pt idx="2232">
                  <c:v>0</c:v>
                </c:pt>
                <c:pt idx="2233">
                  <c:v>0</c:v>
                </c:pt>
                <c:pt idx="2234">
                  <c:v>0</c:v>
                </c:pt>
                <c:pt idx="2235">
                  <c:v>0</c:v>
                </c:pt>
                <c:pt idx="2236">
                  <c:v>0</c:v>
                </c:pt>
                <c:pt idx="2237">
                  <c:v>0</c:v>
                </c:pt>
                <c:pt idx="2238">
                  <c:v>0</c:v>
                </c:pt>
                <c:pt idx="2239">
                  <c:v>0</c:v>
                </c:pt>
                <c:pt idx="2240">
                  <c:v>0</c:v>
                </c:pt>
                <c:pt idx="2241">
                  <c:v>0</c:v>
                </c:pt>
                <c:pt idx="2242">
                  <c:v>0</c:v>
                </c:pt>
                <c:pt idx="2243">
                  <c:v>0</c:v>
                </c:pt>
                <c:pt idx="2244">
                  <c:v>0</c:v>
                </c:pt>
                <c:pt idx="2245">
                  <c:v>0</c:v>
                </c:pt>
                <c:pt idx="2246">
                  <c:v>0</c:v>
                </c:pt>
                <c:pt idx="2247">
                  <c:v>0</c:v>
                </c:pt>
                <c:pt idx="2248">
                  <c:v>0</c:v>
                </c:pt>
                <c:pt idx="2249">
                  <c:v>0</c:v>
                </c:pt>
                <c:pt idx="2250">
                  <c:v>0</c:v>
                </c:pt>
                <c:pt idx="2251">
                  <c:v>0</c:v>
                </c:pt>
                <c:pt idx="2252">
                  <c:v>0</c:v>
                </c:pt>
                <c:pt idx="2253">
                  <c:v>0</c:v>
                </c:pt>
                <c:pt idx="2254">
                  <c:v>0</c:v>
                </c:pt>
                <c:pt idx="2255">
                  <c:v>0</c:v>
                </c:pt>
                <c:pt idx="2256">
                  <c:v>0</c:v>
                </c:pt>
                <c:pt idx="2257">
                  <c:v>0</c:v>
                </c:pt>
                <c:pt idx="2258">
                  <c:v>0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0</c:v>
                </c:pt>
                <c:pt idx="2315">
                  <c:v>0</c:v>
                </c:pt>
                <c:pt idx="2316">
                  <c:v>0</c:v>
                </c:pt>
                <c:pt idx="2317">
                  <c:v>0</c:v>
                </c:pt>
                <c:pt idx="2318">
                  <c:v>0</c:v>
                </c:pt>
                <c:pt idx="2319">
                  <c:v>0</c:v>
                </c:pt>
                <c:pt idx="2320">
                  <c:v>0</c:v>
                </c:pt>
                <c:pt idx="2321">
                  <c:v>0</c:v>
                </c:pt>
                <c:pt idx="2322">
                  <c:v>0</c:v>
                </c:pt>
                <c:pt idx="2323">
                  <c:v>0</c:v>
                </c:pt>
                <c:pt idx="2324">
                  <c:v>0</c:v>
                </c:pt>
                <c:pt idx="2325">
                  <c:v>0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0</c:v>
                </c:pt>
                <c:pt idx="2337">
                  <c:v>0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</c:numCache>
              <c:extLst xmlns:c15="http://schemas.microsoft.com/office/drawing/2012/chart"/>
            </c:numRef>
          </c:xVal>
          <c:yVal>
            <c:numRef>
              <c:f>'ASEP 1'!$Y$5:$Y$3933</c:f>
              <c:numCache>
                <c:formatCode>0.0</c:formatCode>
                <c:ptCount val="3929"/>
                <c:pt idx="0">
                  <c:v>69.5</c:v>
                </c:pt>
                <c:pt idx="1">
                  <c:v>68.900000000000006</c:v>
                </c:pt>
                <c:pt idx="2">
                  <c:v>72.5</c:v>
                </c:pt>
                <c:pt idx="3">
                  <c:v>77.3</c:v>
                </c:pt>
                <c:pt idx="4">
                  <c:v>79.3</c:v>
                </c:pt>
                <c:pt idx="5">
                  <c:v>82.5</c:v>
                </c:pt>
                <c:pt idx="6">
                  <c:v>70.3</c:v>
                </c:pt>
                <c:pt idx="7">
                  <c:v>69.5</c:v>
                </c:pt>
                <c:pt idx="8">
                  <c:v>72</c:v>
                </c:pt>
                <c:pt idx="9">
                  <c:v>77.599999999999994</c:v>
                </c:pt>
                <c:pt idx="10">
                  <c:v>67.5</c:v>
                </c:pt>
                <c:pt idx="11">
                  <c:v>67.3</c:v>
                </c:pt>
                <c:pt idx="12">
                  <c:v>67.400000000000006</c:v>
                </c:pt>
                <c:pt idx="13">
                  <c:v>66.900000000000006</c:v>
                </c:pt>
                <c:pt idx="14">
                  <c:v>66.3</c:v>
                </c:pt>
                <c:pt idx="15">
                  <c:v>66.2</c:v>
                </c:pt>
                <c:pt idx="16">
                  <c:v>67.3</c:v>
                </c:pt>
                <c:pt idx="17">
                  <c:v>70.599999999999994</c:v>
                </c:pt>
                <c:pt idx="18">
                  <c:v>73.2</c:v>
                </c:pt>
                <c:pt idx="19">
                  <c:v>76.7</c:v>
                </c:pt>
                <c:pt idx="20">
                  <c:v>67.7</c:v>
                </c:pt>
                <c:pt idx="21">
                  <c:v>67</c:v>
                </c:pt>
                <c:pt idx="22">
                  <c:v>67.400000000000006</c:v>
                </c:pt>
                <c:pt idx="23">
                  <c:v>67.599999999999994</c:v>
                </c:pt>
                <c:pt idx="24">
                  <c:v>69</c:v>
                </c:pt>
                <c:pt idx="25">
                  <c:v>68.900000000000006</c:v>
                </c:pt>
                <c:pt idx="26">
                  <c:v>69.2</c:v>
                </c:pt>
                <c:pt idx="27">
                  <c:v>69.5</c:v>
                </c:pt>
                <c:pt idx="28">
                  <c:v>71.3</c:v>
                </c:pt>
                <c:pt idx="29">
                  <c:v>77.099999999999994</c:v>
                </c:pt>
                <c:pt idx="30">
                  <c:v>80.7</c:v>
                </c:pt>
                <c:pt idx="31">
                  <c:v>71.900000000000006</c:v>
                </c:pt>
                <c:pt idx="32">
                  <c:v>72.400000000000006</c:v>
                </c:pt>
                <c:pt idx="33">
                  <c:v>79.3</c:v>
                </c:pt>
                <c:pt idx="34">
                  <c:v>80.8</c:v>
                </c:pt>
                <c:pt idx="35">
                  <c:v>81.8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1.7</c:v>
                </c:pt>
                <c:pt idx="101">
                  <c:v>60.4</c:v>
                </c:pt>
                <c:pt idx="102">
                  <c:v>62.6</c:v>
                </c:pt>
                <c:pt idx="103">
                  <c:v>64.5</c:v>
                </c:pt>
                <c:pt idx="104">
                  <c:v>66.5</c:v>
                </c:pt>
                <c:pt idx="105">
                  <c:v>68.900000000000006</c:v>
                </c:pt>
                <c:pt idx="106">
                  <c:v>70.099999999999994</c:v>
                </c:pt>
                <c:pt idx="107">
                  <c:v>69</c:v>
                </c:pt>
                <c:pt idx="108">
                  <c:v>71.099999999999994</c:v>
                </c:pt>
                <c:pt idx="109">
                  <c:v>65</c:v>
                </c:pt>
                <c:pt idx="110">
                  <c:v>66.099999999999994</c:v>
                </c:pt>
                <c:pt idx="111">
                  <c:v>67.900000000000006</c:v>
                </c:pt>
                <c:pt idx="112">
                  <c:v>62.6</c:v>
                </c:pt>
                <c:pt idx="113">
                  <c:v>57.9</c:v>
                </c:pt>
                <c:pt idx="114">
                  <c:v>53.5</c:v>
                </c:pt>
                <c:pt idx="115">
                  <c:v>49.3</c:v>
                </c:pt>
                <c:pt idx="116">
                  <c:v>65.400000000000006</c:v>
                </c:pt>
                <c:pt idx="117">
                  <c:v>67.099999999999994</c:v>
                </c:pt>
                <c:pt idx="118">
                  <c:v>69.3</c:v>
                </c:pt>
                <c:pt idx="119">
                  <c:v>70.900000000000006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61.4</c:v>
                </c:pt>
                <c:pt idx="301">
                  <c:v>62.2</c:v>
                </c:pt>
                <c:pt idx="302">
                  <c:v>62.7</c:v>
                </c:pt>
                <c:pt idx="303">
                  <c:v>64.7</c:v>
                </c:pt>
                <c:pt idx="304">
                  <c:v>66.900000000000006</c:v>
                </c:pt>
                <c:pt idx="305">
                  <c:v>68.400000000000006</c:v>
                </c:pt>
                <c:pt idx="306">
                  <c:v>70.2</c:v>
                </c:pt>
                <c:pt idx="307">
                  <c:v>70.5</c:v>
                </c:pt>
                <c:pt idx="308">
                  <c:v>70.8</c:v>
                </c:pt>
                <c:pt idx="309">
                  <c:v>65.5</c:v>
                </c:pt>
                <c:pt idx="310">
                  <c:v>67</c:v>
                </c:pt>
                <c:pt idx="311">
                  <c:v>68.8</c:v>
                </c:pt>
                <c:pt idx="312">
                  <c:v>69</c:v>
                </c:pt>
                <c:pt idx="313">
                  <c:v>71.5</c:v>
                </c:pt>
                <c:pt idx="314">
                  <c:v>72.2</c:v>
                </c:pt>
                <c:pt idx="315">
                  <c:v>73.8</c:v>
                </c:pt>
                <c:pt idx="316">
                  <c:v>53.7</c:v>
                </c:pt>
                <c:pt idx="317">
                  <c:v>58.2</c:v>
                </c:pt>
                <c:pt idx="318">
                  <c:v>61.7</c:v>
                </c:pt>
                <c:pt idx="319">
                  <c:v>59</c:v>
                </c:pt>
                <c:pt idx="320">
                  <c:v>64.3</c:v>
                </c:pt>
                <c:pt idx="321">
                  <c:v>67.900000000000006</c:v>
                </c:pt>
                <c:pt idx="322">
                  <c:v>69.8</c:v>
                </c:pt>
                <c:pt idx="323">
                  <c:v>71.599999999999994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64.8</c:v>
                </c:pt>
                <c:pt idx="401">
                  <c:v>65.7</c:v>
                </c:pt>
                <c:pt idx="402">
                  <c:v>66.5</c:v>
                </c:pt>
                <c:pt idx="403">
                  <c:v>68.599999999999994</c:v>
                </c:pt>
                <c:pt idx="404">
                  <c:v>69.8</c:v>
                </c:pt>
                <c:pt idx="405">
                  <c:v>70.599999999999994</c:v>
                </c:pt>
                <c:pt idx="406">
                  <c:v>72.599999999999994</c:v>
                </c:pt>
                <c:pt idx="407">
                  <c:v>73.8</c:v>
                </c:pt>
                <c:pt idx="408">
                  <c:v>69.7</c:v>
                </c:pt>
                <c:pt idx="409">
                  <c:v>72.099999999999994</c:v>
                </c:pt>
                <c:pt idx="410">
                  <c:v>72</c:v>
                </c:pt>
                <c:pt idx="411">
                  <c:v>73.599999999999994</c:v>
                </c:pt>
                <c:pt idx="412">
                  <c:v>74.7</c:v>
                </c:pt>
                <c:pt idx="413">
                  <c:v>77.400000000000006</c:v>
                </c:pt>
                <c:pt idx="414">
                  <c:v>77.8</c:v>
                </c:pt>
                <c:pt idx="415">
                  <c:v>72.099999999999994</c:v>
                </c:pt>
                <c:pt idx="416">
                  <c:v>69.900000000000006</c:v>
                </c:pt>
                <c:pt idx="417">
                  <c:v>67.900000000000006</c:v>
                </c:pt>
                <c:pt idx="418">
                  <c:v>65.400000000000006</c:v>
                </c:pt>
                <c:pt idx="419">
                  <c:v>62.6</c:v>
                </c:pt>
                <c:pt idx="420">
                  <c:v>61</c:v>
                </c:pt>
                <c:pt idx="421">
                  <c:v>61.1</c:v>
                </c:pt>
                <c:pt idx="422">
                  <c:v>59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72.3</c:v>
                </c:pt>
                <c:pt idx="501">
                  <c:v>72.900000000000006</c:v>
                </c:pt>
                <c:pt idx="502">
                  <c:v>72.7</c:v>
                </c:pt>
                <c:pt idx="503">
                  <c:v>73.7</c:v>
                </c:pt>
                <c:pt idx="504">
                  <c:v>72.900000000000006</c:v>
                </c:pt>
                <c:pt idx="505">
                  <c:v>73.3</c:v>
                </c:pt>
                <c:pt idx="506">
                  <c:v>71.8</c:v>
                </c:pt>
                <c:pt idx="507">
                  <c:v>72.5</c:v>
                </c:pt>
                <c:pt idx="508">
                  <c:v>71.099999999999994</c:v>
                </c:pt>
                <c:pt idx="509">
                  <c:v>70.599999999999994</c:v>
                </c:pt>
                <c:pt idx="510">
                  <c:v>71.2</c:v>
                </c:pt>
                <c:pt idx="511">
                  <c:v>71</c:v>
                </c:pt>
                <c:pt idx="512">
                  <c:v>71.7</c:v>
                </c:pt>
                <c:pt idx="513">
                  <c:v>71.8</c:v>
                </c:pt>
                <c:pt idx="514">
                  <c:v>72.2</c:v>
                </c:pt>
                <c:pt idx="515">
                  <c:v>71.8</c:v>
                </c:pt>
                <c:pt idx="516">
                  <c:v>73.400000000000006</c:v>
                </c:pt>
                <c:pt idx="517">
                  <c:v>74</c:v>
                </c:pt>
                <c:pt idx="518">
                  <c:v>69</c:v>
                </c:pt>
                <c:pt idx="519">
                  <c:v>67</c:v>
                </c:pt>
                <c:pt idx="520">
                  <c:v>69.599999999999994</c:v>
                </c:pt>
                <c:pt idx="521">
                  <c:v>68.400000000000006</c:v>
                </c:pt>
                <c:pt idx="522">
                  <c:v>68.400000000000006</c:v>
                </c:pt>
                <c:pt idx="523">
                  <c:v>69.599999999999994</c:v>
                </c:pt>
                <c:pt idx="524">
                  <c:v>67.599999999999994</c:v>
                </c:pt>
                <c:pt idx="525">
                  <c:v>70.2</c:v>
                </c:pt>
                <c:pt idx="526">
                  <c:v>69.8</c:v>
                </c:pt>
                <c:pt idx="527">
                  <c:v>70</c:v>
                </c:pt>
                <c:pt idx="528">
                  <c:v>70.599999999999994</c:v>
                </c:pt>
                <c:pt idx="529">
                  <c:v>70</c:v>
                </c:pt>
                <c:pt idx="530">
                  <c:v>70.8</c:v>
                </c:pt>
                <c:pt idx="531">
                  <c:v>72.5</c:v>
                </c:pt>
                <c:pt idx="532">
                  <c:v>73.599999999999994</c:v>
                </c:pt>
                <c:pt idx="533">
                  <c:v>70.7</c:v>
                </c:pt>
                <c:pt idx="534">
                  <c:v>68.8</c:v>
                </c:pt>
                <c:pt idx="535">
                  <c:v>66.099999999999994</c:v>
                </c:pt>
                <c:pt idx="536">
                  <c:v>64.7</c:v>
                </c:pt>
                <c:pt idx="537">
                  <c:v>63.7</c:v>
                </c:pt>
                <c:pt idx="538">
                  <c:v>61</c:v>
                </c:pt>
                <c:pt idx="539">
                  <c:v>59.8</c:v>
                </c:pt>
                <c:pt idx="540">
                  <c:v>59.1</c:v>
                </c:pt>
                <c:pt idx="541">
                  <c:v>57.8</c:v>
                </c:pt>
                <c:pt idx="542">
                  <c:v>56.5</c:v>
                </c:pt>
                <c:pt idx="543">
                  <c:v>54</c:v>
                </c:pt>
                <c:pt idx="544">
                  <c:v>50.2</c:v>
                </c:pt>
                <c:pt idx="545">
                  <c:v>64.2</c:v>
                </c:pt>
                <c:pt idx="546">
                  <c:v>57</c:v>
                </c:pt>
                <c:pt idx="547">
                  <c:v>65.599999999999994</c:v>
                </c:pt>
                <c:pt idx="548">
                  <c:v>57.5</c:v>
                </c:pt>
                <c:pt idx="549">
                  <c:v>64.3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60.1</c:v>
                </c:pt>
                <c:pt idx="601">
                  <c:v>59.3</c:v>
                </c:pt>
                <c:pt idx="602">
                  <c:v>63</c:v>
                </c:pt>
                <c:pt idx="603">
                  <c:v>64.599999999999994</c:v>
                </c:pt>
                <c:pt idx="604">
                  <c:v>67.2</c:v>
                </c:pt>
                <c:pt idx="605">
                  <c:v>68.8</c:v>
                </c:pt>
                <c:pt idx="606">
                  <c:v>71</c:v>
                </c:pt>
                <c:pt idx="607">
                  <c:v>73.3</c:v>
                </c:pt>
                <c:pt idx="608">
                  <c:v>72.099999999999994</c:v>
                </c:pt>
                <c:pt idx="609">
                  <c:v>69.099999999999994</c:v>
                </c:pt>
                <c:pt idx="610">
                  <c:v>70</c:v>
                </c:pt>
                <c:pt idx="611">
                  <c:v>69.3</c:v>
                </c:pt>
                <c:pt idx="612">
                  <c:v>70.3</c:v>
                </c:pt>
                <c:pt idx="613">
                  <c:v>70.8</c:v>
                </c:pt>
                <c:pt idx="614">
                  <c:v>71.599999999999994</c:v>
                </c:pt>
                <c:pt idx="615">
                  <c:v>66.5</c:v>
                </c:pt>
                <c:pt idx="616">
                  <c:v>67.900000000000006</c:v>
                </c:pt>
                <c:pt idx="617">
                  <c:v>67.2</c:v>
                </c:pt>
                <c:pt idx="618">
                  <c:v>67.2</c:v>
                </c:pt>
                <c:pt idx="619">
                  <c:v>65.7</c:v>
                </c:pt>
                <c:pt idx="620">
                  <c:v>67.599999999999994</c:v>
                </c:pt>
                <c:pt idx="621">
                  <c:v>67</c:v>
                </c:pt>
                <c:pt idx="622">
                  <c:v>68</c:v>
                </c:pt>
                <c:pt idx="623">
                  <c:v>69.2</c:v>
                </c:pt>
                <c:pt idx="624">
                  <c:v>71.3</c:v>
                </c:pt>
                <c:pt idx="625">
                  <c:v>71.8</c:v>
                </c:pt>
                <c:pt idx="626">
                  <c:v>74.2</c:v>
                </c:pt>
                <c:pt idx="627">
                  <c:v>70</c:v>
                </c:pt>
                <c:pt idx="628">
                  <c:v>70.099999999999994</c:v>
                </c:pt>
                <c:pt idx="629">
                  <c:v>69.900000000000006</c:v>
                </c:pt>
                <c:pt idx="630">
                  <c:v>69.3</c:v>
                </c:pt>
                <c:pt idx="631">
                  <c:v>71.2</c:v>
                </c:pt>
                <c:pt idx="632">
                  <c:v>67.599999999999994</c:v>
                </c:pt>
                <c:pt idx="633">
                  <c:v>66.7</c:v>
                </c:pt>
                <c:pt idx="634">
                  <c:v>66.099999999999994</c:v>
                </c:pt>
                <c:pt idx="635">
                  <c:v>67</c:v>
                </c:pt>
                <c:pt idx="636">
                  <c:v>68.400000000000006</c:v>
                </c:pt>
                <c:pt idx="637">
                  <c:v>61.9</c:v>
                </c:pt>
                <c:pt idx="638">
                  <c:v>62.5</c:v>
                </c:pt>
                <c:pt idx="639">
                  <c:v>60.6</c:v>
                </c:pt>
                <c:pt idx="640">
                  <c:v>61.3</c:v>
                </c:pt>
                <c:pt idx="641">
                  <c:v>64</c:v>
                </c:pt>
                <c:pt idx="642">
                  <c:v>66.8</c:v>
                </c:pt>
                <c:pt idx="643">
                  <c:v>63.3</c:v>
                </c:pt>
                <c:pt idx="644">
                  <c:v>60.5</c:v>
                </c:pt>
                <c:pt idx="645">
                  <c:v>54.6</c:v>
                </c:pt>
                <c:pt idx="646">
                  <c:v>58.2</c:v>
                </c:pt>
                <c:pt idx="647">
                  <c:v>59.3</c:v>
                </c:pt>
                <c:pt idx="648">
                  <c:v>47.1</c:v>
                </c:pt>
                <c:pt idx="649">
                  <c:v>55</c:v>
                </c:pt>
                <c:pt idx="650">
                  <c:v>57.2</c:v>
                </c:pt>
                <c:pt idx="651">
                  <c:v>60.8</c:v>
                </c:pt>
                <c:pt idx="652">
                  <c:v>63.4</c:v>
                </c:pt>
                <c:pt idx="653">
                  <c:v>63.9</c:v>
                </c:pt>
                <c:pt idx="654">
                  <c:v>65.8</c:v>
                </c:pt>
                <c:pt idx="655">
                  <c:v>66.5</c:v>
                </c:pt>
                <c:pt idx="656">
                  <c:v>63.9</c:v>
                </c:pt>
                <c:pt idx="657">
                  <c:v>64.900000000000006</c:v>
                </c:pt>
                <c:pt idx="658">
                  <c:v>62.8</c:v>
                </c:pt>
                <c:pt idx="659">
                  <c:v>62.2</c:v>
                </c:pt>
                <c:pt idx="660">
                  <c:v>56.5</c:v>
                </c:pt>
                <c:pt idx="661">
                  <c:v>61.7</c:v>
                </c:pt>
                <c:pt idx="662">
                  <c:v>58.4</c:v>
                </c:pt>
                <c:pt idx="663">
                  <c:v>59.5</c:v>
                </c:pt>
                <c:pt idx="664">
                  <c:v>60.3</c:v>
                </c:pt>
                <c:pt idx="665">
                  <c:v>60.2</c:v>
                </c:pt>
                <c:pt idx="666">
                  <c:v>59.7</c:v>
                </c:pt>
                <c:pt idx="667">
                  <c:v>59.1</c:v>
                </c:pt>
                <c:pt idx="668">
                  <c:v>58.1</c:v>
                </c:pt>
                <c:pt idx="669">
                  <c:v>61.6</c:v>
                </c:pt>
                <c:pt idx="670">
                  <c:v>59.4</c:v>
                </c:pt>
                <c:pt idx="671">
                  <c:v>61.5</c:v>
                </c:pt>
                <c:pt idx="672">
                  <c:v>61.7</c:v>
                </c:pt>
                <c:pt idx="673">
                  <c:v>60.8</c:v>
                </c:pt>
                <c:pt idx="674">
                  <c:v>63.3</c:v>
                </c:pt>
                <c:pt idx="675">
                  <c:v>62.7</c:v>
                </c:pt>
                <c:pt idx="676">
                  <c:v>64.8</c:v>
                </c:pt>
                <c:pt idx="677">
                  <c:v>64.7</c:v>
                </c:pt>
                <c:pt idx="678">
                  <c:v>49.3</c:v>
                </c:pt>
                <c:pt idx="679">
                  <c:v>55.9</c:v>
                </c:pt>
                <c:pt idx="680">
                  <c:v>57.6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64.900000000000006</c:v>
                </c:pt>
                <c:pt idx="701">
                  <c:v>65.5</c:v>
                </c:pt>
                <c:pt idx="702">
                  <c:v>66.900000000000006</c:v>
                </c:pt>
                <c:pt idx="703">
                  <c:v>68.2</c:v>
                </c:pt>
                <c:pt idx="704">
                  <c:v>69.3</c:v>
                </c:pt>
                <c:pt idx="705">
                  <c:v>69.5</c:v>
                </c:pt>
                <c:pt idx="706">
                  <c:v>71.8</c:v>
                </c:pt>
                <c:pt idx="707">
                  <c:v>72.8</c:v>
                </c:pt>
                <c:pt idx="708">
                  <c:v>59.6</c:v>
                </c:pt>
                <c:pt idx="709">
                  <c:v>61.1</c:v>
                </c:pt>
                <c:pt idx="710">
                  <c:v>63.5</c:v>
                </c:pt>
                <c:pt idx="711">
                  <c:v>66.099999999999994</c:v>
                </c:pt>
                <c:pt idx="712">
                  <c:v>67.7</c:v>
                </c:pt>
                <c:pt idx="713">
                  <c:v>69.5</c:v>
                </c:pt>
                <c:pt idx="714">
                  <c:v>71</c:v>
                </c:pt>
                <c:pt idx="715">
                  <c:v>69.3</c:v>
                </c:pt>
                <c:pt idx="716">
                  <c:v>71.2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74.3</c:v>
                </c:pt>
                <c:pt idx="801">
                  <c:v>72.099999999999994</c:v>
                </c:pt>
                <c:pt idx="802">
                  <c:v>73.5</c:v>
                </c:pt>
                <c:pt idx="803">
                  <c:v>73.8</c:v>
                </c:pt>
                <c:pt idx="804">
                  <c:v>73.099999999999994</c:v>
                </c:pt>
                <c:pt idx="805">
                  <c:v>74.400000000000006</c:v>
                </c:pt>
                <c:pt idx="806">
                  <c:v>75.7</c:v>
                </c:pt>
                <c:pt idx="807">
                  <c:v>75.7</c:v>
                </c:pt>
                <c:pt idx="808">
                  <c:v>74</c:v>
                </c:pt>
                <c:pt idx="809">
                  <c:v>73.400000000000006</c:v>
                </c:pt>
                <c:pt idx="810">
                  <c:v>71.400000000000006</c:v>
                </c:pt>
                <c:pt idx="811">
                  <c:v>71.900000000000006</c:v>
                </c:pt>
                <c:pt idx="812">
                  <c:v>71.400000000000006</c:v>
                </c:pt>
                <c:pt idx="813">
                  <c:v>72.400000000000006</c:v>
                </c:pt>
                <c:pt idx="814">
                  <c:v>73.7</c:v>
                </c:pt>
                <c:pt idx="815">
                  <c:v>74</c:v>
                </c:pt>
                <c:pt idx="816">
                  <c:v>0</c:v>
                </c:pt>
                <c:pt idx="817">
                  <c:v>0</c:v>
                </c:pt>
                <c:pt idx="818">
                  <c:v>0</c:v>
                </c:pt>
                <c:pt idx="819">
                  <c:v>0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</c:v>
                </c:pt>
                <c:pt idx="824">
                  <c:v>0</c:v>
                </c:pt>
                <c:pt idx="825">
                  <c:v>0</c:v>
                </c:pt>
                <c:pt idx="826">
                  <c:v>0</c:v>
                </c:pt>
                <c:pt idx="827">
                  <c:v>0</c:v>
                </c:pt>
                <c:pt idx="828">
                  <c:v>0</c:v>
                </c:pt>
                <c:pt idx="829">
                  <c:v>0</c:v>
                </c:pt>
                <c:pt idx="830">
                  <c:v>0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0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0</c:v>
                </c:pt>
                <c:pt idx="846">
                  <c:v>0</c:v>
                </c:pt>
                <c:pt idx="847">
                  <c:v>0</c:v>
                </c:pt>
                <c:pt idx="848">
                  <c:v>0</c:v>
                </c:pt>
                <c:pt idx="849">
                  <c:v>0</c:v>
                </c:pt>
                <c:pt idx="850">
                  <c:v>0</c:v>
                </c:pt>
                <c:pt idx="851">
                  <c:v>0</c:v>
                </c:pt>
                <c:pt idx="852">
                  <c:v>0</c:v>
                </c:pt>
                <c:pt idx="853">
                  <c:v>0</c:v>
                </c:pt>
                <c:pt idx="854">
                  <c:v>0</c:v>
                </c:pt>
                <c:pt idx="855">
                  <c:v>0</c:v>
                </c:pt>
                <c:pt idx="856">
                  <c:v>0</c:v>
                </c:pt>
                <c:pt idx="857">
                  <c:v>0</c:v>
                </c:pt>
                <c:pt idx="858">
                  <c:v>0</c:v>
                </c:pt>
                <c:pt idx="859">
                  <c:v>0</c:v>
                </c:pt>
                <c:pt idx="860">
                  <c:v>0</c:v>
                </c:pt>
                <c:pt idx="861">
                  <c:v>0</c:v>
                </c:pt>
                <c:pt idx="862">
                  <c:v>0</c:v>
                </c:pt>
                <c:pt idx="863">
                  <c:v>0</c:v>
                </c:pt>
                <c:pt idx="864">
                  <c:v>0</c:v>
                </c:pt>
                <c:pt idx="865">
                  <c:v>0</c:v>
                </c:pt>
                <c:pt idx="866">
                  <c:v>0</c:v>
                </c:pt>
                <c:pt idx="867">
                  <c:v>0</c:v>
                </c:pt>
                <c:pt idx="868">
                  <c:v>0</c:v>
                </c:pt>
                <c:pt idx="869">
                  <c:v>0</c:v>
                </c:pt>
                <c:pt idx="870">
                  <c:v>0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0</c:v>
                </c:pt>
                <c:pt idx="875">
                  <c:v>0</c:v>
                </c:pt>
                <c:pt idx="876">
                  <c:v>0</c:v>
                </c:pt>
                <c:pt idx="877">
                  <c:v>0</c:v>
                </c:pt>
                <c:pt idx="878">
                  <c:v>0</c:v>
                </c:pt>
                <c:pt idx="879">
                  <c:v>0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0</c:v>
                </c:pt>
                <c:pt idx="884">
                  <c:v>0</c:v>
                </c:pt>
                <c:pt idx="885">
                  <c:v>0</c:v>
                </c:pt>
                <c:pt idx="886">
                  <c:v>0</c:v>
                </c:pt>
                <c:pt idx="887">
                  <c:v>0</c:v>
                </c:pt>
                <c:pt idx="888">
                  <c:v>0</c:v>
                </c:pt>
                <c:pt idx="889">
                  <c:v>0</c:v>
                </c:pt>
                <c:pt idx="890">
                  <c:v>0</c:v>
                </c:pt>
                <c:pt idx="891">
                  <c:v>0</c:v>
                </c:pt>
                <c:pt idx="892">
                  <c:v>0</c:v>
                </c:pt>
                <c:pt idx="893">
                  <c:v>0</c:v>
                </c:pt>
                <c:pt idx="894">
                  <c:v>0</c:v>
                </c:pt>
                <c:pt idx="895">
                  <c:v>0</c:v>
                </c:pt>
                <c:pt idx="896">
                  <c:v>0</c:v>
                </c:pt>
                <c:pt idx="897">
                  <c:v>0</c:v>
                </c:pt>
                <c:pt idx="898">
                  <c:v>0</c:v>
                </c:pt>
                <c:pt idx="899">
                  <c:v>0</c:v>
                </c:pt>
                <c:pt idx="900">
                  <c:v>62</c:v>
                </c:pt>
                <c:pt idx="901">
                  <c:v>63</c:v>
                </c:pt>
                <c:pt idx="902">
                  <c:v>64.2</c:v>
                </c:pt>
                <c:pt idx="903">
                  <c:v>65.900000000000006</c:v>
                </c:pt>
                <c:pt idx="904">
                  <c:v>68.7</c:v>
                </c:pt>
                <c:pt idx="905">
                  <c:v>70.2</c:v>
                </c:pt>
                <c:pt idx="906">
                  <c:v>72.5</c:v>
                </c:pt>
                <c:pt idx="907">
                  <c:v>74.2</c:v>
                </c:pt>
                <c:pt idx="908">
                  <c:v>76.099999999999994</c:v>
                </c:pt>
                <c:pt idx="909">
                  <c:v>77.900000000000006</c:v>
                </c:pt>
                <c:pt idx="910">
                  <c:v>61.7</c:v>
                </c:pt>
                <c:pt idx="911">
                  <c:v>63.1</c:v>
                </c:pt>
                <c:pt idx="912">
                  <c:v>63</c:v>
                </c:pt>
                <c:pt idx="913">
                  <c:v>65.5</c:v>
                </c:pt>
                <c:pt idx="914">
                  <c:v>67.2</c:v>
                </c:pt>
                <c:pt idx="915">
                  <c:v>69.599999999999994</c:v>
                </c:pt>
                <c:pt idx="916">
                  <c:v>71.5</c:v>
                </c:pt>
                <c:pt idx="917">
                  <c:v>74.2</c:v>
                </c:pt>
                <c:pt idx="918">
                  <c:v>75.7</c:v>
                </c:pt>
                <c:pt idx="919">
                  <c:v>77.5</c:v>
                </c:pt>
                <c:pt idx="920">
                  <c:v>70.099999999999994</c:v>
                </c:pt>
                <c:pt idx="921">
                  <c:v>70.599999999999994</c:v>
                </c:pt>
                <c:pt idx="922">
                  <c:v>70.7</c:v>
                </c:pt>
                <c:pt idx="923">
                  <c:v>72.2</c:v>
                </c:pt>
                <c:pt idx="924">
                  <c:v>73.3</c:v>
                </c:pt>
                <c:pt idx="925">
                  <c:v>75.599999999999994</c:v>
                </c:pt>
                <c:pt idx="926">
                  <c:v>76.3</c:v>
                </c:pt>
                <c:pt idx="927">
                  <c:v>77.7</c:v>
                </c:pt>
                <c:pt idx="928">
                  <c:v>77.2</c:v>
                </c:pt>
                <c:pt idx="929">
                  <c:v>79.2</c:v>
                </c:pt>
                <c:pt idx="930">
                  <c:v>76.900000000000006</c:v>
                </c:pt>
                <c:pt idx="931">
                  <c:v>76.599999999999994</c:v>
                </c:pt>
                <c:pt idx="932">
                  <c:v>78.400000000000006</c:v>
                </c:pt>
                <c:pt idx="933">
                  <c:v>67.8</c:v>
                </c:pt>
                <c:pt idx="934">
                  <c:v>68</c:v>
                </c:pt>
                <c:pt idx="935">
                  <c:v>67.8</c:v>
                </c:pt>
                <c:pt idx="936">
                  <c:v>67.8</c:v>
                </c:pt>
                <c:pt idx="937">
                  <c:v>66.599999999999994</c:v>
                </c:pt>
                <c:pt idx="938">
                  <c:v>67.099999999999994</c:v>
                </c:pt>
                <c:pt idx="939">
                  <c:v>66.8</c:v>
                </c:pt>
                <c:pt idx="940">
                  <c:v>66.8</c:v>
                </c:pt>
                <c:pt idx="941">
                  <c:v>55.8</c:v>
                </c:pt>
                <c:pt idx="942">
                  <c:v>58.3</c:v>
                </c:pt>
                <c:pt idx="943">
                  <c:v>62</c:v>
                </c:pt>
                <c:pt idx="944">
                  <c:v>62</c:v>
                </c:pt>
                <c:pt idx="945">
                  <c:v>63.9</c:v>
                </c:pt>
                <c:pt idx="946">
                  <c:v>66.900000000000006</c:v>
                </c:pt>
                <c:pt idx="947">
                  <c:v>69.099999999999994</c:v>
                </c:pt>
                <c:pt idx="948">
                  <c:v>71.599999999999994</c:v>
                </c:pt>
                <c:pt idx="949">
                  <c:v>73.7</c:v>
                </c:pt>
                <c:pt idx="950">
                  <c:v>75.599999999999994</c:v>
                </c:pt>
                <c:pt idx="951">
                  <c:v>77.599999999999994</c:v>
                </c:pt>
                <c:pt idx="952">
                  <c:v>63.3</c:v>
                </c:pt>
                <c:pt idx="953">
                  <c:v>70.2</c:v>
                </c:pt>
                <c:pt idx="954">
                  <c:v>72.7</c:v>
                </c:pt>
                <c:pt idx="955">
                  <c:v>67.400000000000006</c:v>
                </c:pt>
                <c:pt idx="956">
                  <c:v>78.599999999999994</c:v>
                </c:pt>
                <c:pt idx="957">
                  <c:v>77.8</c:v>
                </c:pt>
                <c:pt idx="958">
                  <c:v>77.900000000000006</c:v>
                </c:pt>
                <c:pt idx="959">
                  <c:v>78.099999999999994</c:v>
                </c:pt>
                <c:pt idx="960">
                  <c:v>77.8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0</c:v>
                </c:pt>
                <c:pt idx="993">
                  <c:v>0</c:v>
                </c:pt>
                <c:pt idx="994">
                  <c:v>0</c:v>
                </c:pt>
                <c:pt idx="995">
                  <c:v>0</c:v>
                </c:pt>
                <c:pt idx="996">
                  <c:v>0</c:v>
                </c:pt>
                <c:pt idx="997">
                  <c:v>0</c:v>
                </c:pt>
                <c:pt idx="998">
                  <c:v>0</c:v>
                </c:pt>
                <c:pt idx="999">
                  <c:v>0</c:v>
                </c:pt>
                <c:pt idx="1000">
                  <c:v>64.5</c:v>
                </c:pt>
                <c:pt idx="1001">
                  <c:v>73.2</c:v>
                </c:pt>
                <c:pt idx="1002">
                  <c:v>60</c:v>
                </c:pt>
                <c:pt idx="1003">
                  <c:v>60.7</c:v>
                </c:pt>
                <c:pt idx="1004">
                  <c:v>63.8</c:v>
                </c:pt>
                <c:pt idx="1005">
                  <c:v>66</c:v>
                </c:pt>
                <c:pt idx="1006">
                  <c:v>69.400000000000006</c:v>
                </c:pt>
                <c:pt idx="1007">
                  <c:v>71.400000000000006</c:v>
                </c:pt>
                <c:pt idx="1008">
                  <c:v>73.099999999999994</c:v>
                </c:pt>
                <c:pt idx="1009">
                  <c:v>74.400000000000006</c:v>
                </c:pt>
                <c:pt idx="1010">
                  <c:v>67.8</c:v>
                </c:pt>
                <c:pt idx="1011">
                  <c:v>67.3</c:v>
                </c:pt>
                <c:pt idx="1012">
                  <c:v>68.099999999999994</c:v>
                </c:pt>
                <c:pt idx="1013">
                  <c:v>63.1</c:v>
                </c:pt>
                <c:pt idx="1014">
                  <c:v>61.2</c:v>
                </c:pt>
                <c:pt idx="1015">
                  <c:v>59.3</c:v>
                </c:pt>
                <c:pt idx="1016">
                  <c:v>58.4</c:v>
                </c:pt>
                <c:pt idx="1017">
                  <c:v>51.2</c:v>
                </c:pt>
                <c:pt idx="1018">
                  <c:v>73.3</c:v>
                </c:pt>
                <c:pt idx="1019">
                  <c:v>57.9</c:v>
                </c:pt>
                <c:pt idx="1020">
                  <c:v>57.2</c:v>
                </c:pt>
                <c:pt idx="1021">
                  <c:v>60.7</c:v>
                </c:pt>
                <c:pt idx="1022">
                  <c:v>64.099999999999994</c:v>
                </c:pt>
                <c:pt idx="1023">
                  <c:v>66.7</c:v>
                </c:pt>
                <c:pt idx="1024">
                  <c:v>70.3</c:v>
                </c:pt>
                <c:pt idx="1025">
                  <c:v>71.7</c:v>
                </c:pt>
                <c:pt idx="1026">
                  <c:v>69.599999999999994</c:v>
                </c:pt>
                <c:pt idx="1027">
                  <c:v>69.599999999999994</c:v>
                </c:pt>
                <c:pt idx="1028">
                  <c:v>70.900000000000006</c:v>
                </c:pt>
                <c:pt idx="1029">
                  <c:v>71.7</c:v>
                </c:pt>
                <c:pt idx="1030">
                  <c:v>73.7</c:v>
                </c:pt>
                <c:pt idx="1031">
                  <c:v>74.2</c:v>
                </c:pt>
                <c:pt idx="1032">
                  <c:v>75.599999999999994</c:v>
                </c:pt>
                <c:pt idx="1033">
                  <c:v>75.400000000000006</c:v>
                </c:pt>
                <c:pt idx="1034">
                  <c:v>74.400000000000006</c:v>
                </c:pt>
                <c:pt idx="1035">
                  <c:v>64.900000000000006</c:v>
                </c:pt>
                <c:pt idx="1036">
                  <c:v>66</c:v>
                </c:pt>
                <c:pt idx="1037">
                  <c:v>68.599999999999994</c:v>
                </c:pt>
                <c:pt idx="1038">
                  <c:v>70.3</c:v>
                </c:pt>
                <c:pt idx="1039">
                  <c:v>72.5</c:v>
                </c:pt>
                <c:pt idx="1040">
                  <c:v>74.3</c:v>
                </c:pt>
                <c:pt idx="1041">
                  <c:v>75.3</c:v>
                </c:pt>
                <c:pt idx="1042">
                  <c:v>74.599999999999994</c:v>
                </c:pt>
                <c:pt idx="1043">
                  <c:v>61.2</c:v>
                </c:pt>
                <c:pt idx="1044">
                  <c:v>63.6</c:v>
                </c:pt>
                <c:pt idx="1045">
                  <c:v>65.5</c:v>
                </c:pt>
                <c:pt idx="1046">
                  <c:v>68.5</c:v>
                </c:pt>
                <c:pt idx="1047">
                  <c:v>70.900000000000006</c:v>
                </c:pt>
                <c:pt idx="1048">
                  <c:v>73.400000000000006</c:v>
                </c:pt>
                <c:pt idx="1049">
                  <c:v>73.900000000000006</c:v>
                </c:pt>
                <c:pt idx="1050">
                  <c:v>59.7</c:v>
                </c:pt>
                <c:pt idx="1051">
                  <c:v>59.4</c:v>
                </c:pt>
                <c:pt idx="1052">
                  <c:v>63</c:v>
                </c:pt>
                <c:pt idx="1053">
                  <c:v>65.7</c:v>
                </c:pt>
                <c:pt idx="1054">
                  <c:v>69.400000000000006</c:v>
                </c:pt>
                <c:pt idx="1055">
                  <c:v>72.2</c:v>
                </c:pt>
                <c:pt idx="1056">
                  <c:v>73.2</c:v>
                </c:pt>
                <c:pt idx="1057">
                  <c:v>74.400000000000006</c:v>
                </c:pt>
                <c:pt idx="1058">
                  <c:v>67.900000000000006</c:v>
                </c:pt>
                <c:pt idx="1059">
                  <c:v>63.2</c:v>
                </c:pt>
                <c:pt idx="1060">
                  <c:v>63.2</c:v>
                </c:pt>
                <c:pt idx="1061">
                  <c:v>61.8</c:v>
                </c:pt>
                <c:pt idx="1062">
                  <c:v>58.8</c:v>
                </c:pt>
                <c:pt idx="1063">
                  <c:v>59.3</c:v>
                </c:pt>
                <c:pt idx="1064">
                  <c:v>57.8</c:v>
                </c:pt>
                <c:pt idx="1065">
                  <c:v>50.1</c:v>
                </c:pt>
                <c:pt idx="1066">
                  <c:v>59.7</c:v>
                </c:pt>
                <c:pt idx="1067">
                  <c:v>57</c:v>
                </c:pt>
                <c:pt idx="1068">
                  <c:v>61.7</c:v>
                </c:pt>
                <c:pt idx="1069">
                  <c:v>65</c:v>
                </c:pt>
                <c:pt idx="1070">
                  <c:v>68.599999999999994</c:v>
                </c:pt>
                <c:pt idx="1071">
                  <c:v>71.8</c:v>
                </c:pt>
                <c:pt idx="1072">
                  <c:v>74.400000000000006</c:v>
                </c:pt>
                <c:pt idx="1073">
                  <c:v>72.599999999999994</c:v>
                </c:pt>
                <c:pt idx="1074">
                  <c:v>68.900000000000006</c:v>
                </c:pt>
                <c:pt idx="1075">
                  <c:v>74</c:v>
                </c:pt>
                <c:pt idx="1076">
                  <c:v>75.3</c:v>
                </c:pt>
                <c:pt idx="1077">
                  <c:v>63.6</c:v>
                </c:pt>
                <c:pt idx="1078">
                  <c:v>65.3</c:v>
                </c:pt>
                <c:pt idx="1079">
                  <c:v>65.7</c:v>
                </c:pt>
                <c:pt idx="1080">
                  <c:v>68.900000000000006</c:v>
                </c:pt>
                <c:pt idx="1081">
                  <c:v>70.7</c:v>
                </c:pt>
                <c:pt idx="1082">
                  <c:v>73.8</c:v>
                </c:pt>
                <c:pt idx="1083">
                  <c:v>74.099999999999994</c:v>
                </c:pt>
                <c:pt idx="1084">
                  <c:v>59.6</c:v>
                </c:pt>
                <c:pt idx="1085">
                  <c:v>61.2</c:v>
                </c:pt>
                <c:pt idx="1086">
                  <c:v>63.1</c:v>
                </c:pt>
                <c:pt idx="1087">
                  <c:v>66.7</c:v>
                </c:pt>
                <c:pt idx="1088">
                  <c:v>70</c:v>
                </c:pt>
                <c:pt idx="1089">
                  <c:v>72.099999999999994</c:v>
                </c:pt>
                <c:pt idx="1090">
                  <c:v>73.3</c:v>
                </c:pt>
                <c:pt idx="1091">
                  <c:v>74.599999999999994</c:v>
                </c:pt>
                <c:pt idx="1092">
                  <c:v>68.099999999999994</c:v>
                </c:pt>
                <c:pt idx="1093">
                  <c:v>68.599999999999994</c:v>
                </c:pt>
                <c:pt idx="1094">
                  <c:v>66.900000000000006</c:v>
                </c:pt>
                <c:pt idx="1095">
                  <c:v>62</c:v>
                </c:pt>
                <c:pt idx="1096">
                  <c:v>60.6</c:v>
                </c:pt>
                <c:pt idx="1097">
                  <c:v>0</c:v>
                </c:pt>
                <c:pt idx="1098">
                  <c:v>0</c:v>
                </c:pt>
                <c:pt idx="1099">
                  <c:v>0</c:v>
                </c:pt>
                <c:pt idx="1100">
                  <c:v>71</c:v>
                </c:pt>
                <c:pt idx="1101">
                  <c:v>71.2</c:v>
                </c:pt>
                <c:pt idx="1102">
                  <c:v>69.5</c:v>
                </c:pt>
                <c:pt idx="1103">
                  <c:v>71.099999999999994</c:v>
                </c:pt>
                <c:pt idx="1104">
                  <c:v>70.3</c:v>
                </c:pt>
                <c:pt idx="1105">
                  <c:v>70.400000000000006</c:v>
                </c:pt>
                <c:pt idx="1106">
                  <c:v>71.099999999999994</c:v>
                </c:pt>
                <c:pt idx="1107">
                  <c:v>72.5</c:v>
                </c:pt>
                <c:pt idx="1108">
                  <c:v>73.599999999999994</c:v>
                </c:pt>
                <c:pt idx="1109">
                  <c:v>74.7</c:v>
                </c:pt>
                <c:pt idx="1110">
                  <c:v>61.5</c:v>
                </c:pt>
                <c:pt idx="1111">
                  <c:v>67</c:v>
                </c:pt>
                <c:pt idx="1112">
                  <c:v>66</c:v>
                </c:pt>
                <c:pt idx="1113">
                  <c:v>61.7</c:v>
                </c:pt>
                <c:pt idx="1114">
                  <c:v>61.8</c:v>
                </c:pt>
                <c:pt idx="1115">
                  <c:v>67.3</c:v>
                </c:pt>
                <c:pt idx="1116">
                  <c:v>64.5</c:v>
                </c:pt>
                <c:pt idx="1117">
                  <c:v>61.6</c:v>
                </c:pt>
                <c:pt idx="1118">
                  <c:v>63.7</c:v>
                </c:pt>
                <c:pt idx="1119">
                  <c:v>63.4</c:v>
                </c:pt>
                <c:pt idx="1120">
                  <c:v>65.5</c:v>
                </c:pt>
                <c:pt idx="1121">
                  <c:v>64.900000000000006</c:v>
                </c:pt>
                <c:pt idx="1122">
                  <c:v>68.900000000000006</c:v>
                </c:pt>
                <c:pt idx="1123">
                  <c:v>66.900000000000006</c:v>
                </c:pt>
                <c:pt idx="1124">
                  <c:v>68.400000000000006</c:v>
                </c:pt>
                <c:pt idx="1125">
                  <c:v>67.7</c:v>
                </c:pt>
                <c:pt idx="1126">
                  <c:v>69.400000000000006</c:v>
                </c:pt>
                <c:pt idx="1127">
                  <c:v>69</c:v>
                </c:pt>
                <c:pt idx="1128">
                  <c:v>70.400000000000006</c:v>
                </c:pt>
                <c:pt idx="1129">
                  <c:v>74.599999999999994</c:v>
                </c:pt>
                <c:pt idx="1130">
                  <c:v>59</c:v>
                </c:pt>
                <c:pt idx="1131">
                  <c:v>59.5</c:v>
                </c:pt>
                <c:pt idx="1132">
                  <c:v>60.2</c:v>
                </c:pt>
                <c:pt idx="1133">
                  <c:v>62.2</c:v>
                </c:pt>
                <c:pt idx="1134">
                  <c:v>64.5</c:v>
                </c:pt>
                <c:pt idx="1135">
                  <c:v>66.900000000000006</c:v>
                </c:pt>
                <c:pt idx="1136">
                  <c:v>68.7</c:v>
                </c:pt>
                <c:pt idx="1137">
                  <c:v>70.599999999999994</c:v>
                </c:pt>
                <c:pt idx="1138">
                  <c:v>72.2</c:v>
                </c:pt>
                <c:pt idx="1139">
                  <c:v>73.7</c:v>
                </c:pt>
                <c:pt idx="1140">
                  <c:v>0</c:v>
                </c:pt>
                <c:pt idx="1141">
                  <c:v>0</c:v>
                </c:pt>
                <c:pt idx="1142">
                  <c:v>0</c:v>
                </c:pt>
                <c:pt idx="1143">
                  <c:v>0</c:v>
                </c:pt>
                <c:pt idx="1144">
                  <c:v>0</c:v>
                </c:pt>
                <c:pt idx="1145">
                  <c:v>0</c:v>
                </c:pt>
                <c:pt idx="1146">
                  <c:v>0</c:v>
                </c:pt>
                <c:pt idx="1147">
                  <c:v>0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0</c:v>
                </c:pt>
                <c:pt idx="1165">
                  <c:v>0</c:v>
                </c:pt>
                <c:pt idx="1166">
                  <c:v>0</c:v>
                </c:pt>
                <c:pt idx="1167">
                  <c:v>0</c:v>
                </c:pt>
                <c:pt idx="1168">
                  <c:v>0</c:v>
                </c:pt>
                <c:pt idx="1169">
                  <c:v>0</c:v>
                </c:pt>
                <c:pt idx="1170">
                  <c:v>0</c:v>
                </c:pt>
                <c:pt idx="1171">
                  <c:v>0</c:v>
                </c:pt>
                <c:pt idx="1172">
                  <c:v>0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0</c:v>
                </c:pt>
                <c:pt idx="1177">
                  <c:v>0</c:v>
                </c:pt>
                <c:pt idx="1178">
                  <c:v>0</c:v>
                </c:pt>
                <c:pt idx="1179">
                  <c:v>0</c:v>
                </c:pt>
                <c:pt idx="1180">
                  <c:v>0</c:v>
                </c:pt>
                <c:pt idx="1181">
                  <c:v>0</c:v>
                </c:pt>
                <c:pt idx="1182">
                  <c:v>0</c:v>
                </c:pt>
                <c:pt idx="1183">
                  <c:v>0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0</c:v>
                </c:pt>
                <c:pt idx="1189">
                  <c:v>0</c:v>
                </c:pt>
                <c:pt idx="1190">
                  <c:v>0</c:v>
                </c:pt>
                <c:pt idx="1191">
                  <c:v>0</c:v>
                </c:pt>
                <c:pt idx="1192">
                  <c:v>0</c:v>
                </c:pt>
                <c:pt idx="1193">
                  <c:v>0</c:v>
                </c:pt>
                <c:pt idx="1194">
                  <c:v>0</c:v>
                </c:pt>
                <c:pt idx="1195">
                  <c:v>0</c:v>
                </c:pt>
                <c:pt idx="1196">
                  <c:v>0</c:v>
                </c:pt>
                <c:pt idx="1197">
                  <c:v>0</c:v>
                </c:pt>
                <c:pt idx="1198">
                  <c:v>0</c:v>
                </c:pt>
                <c:pt idx="1199">
                  <c:v>0</c:v>
                </c:pt>
                <c:pt idx="1200">
                  <c:v>0</c:v>
                </c:pt>
                <c:pt idx="1201">
                  <c:v>0</c:v>
                </c:pt>
                <c:pt idx="1202">
                  <c:v>0</c:v>
                </c:pt>
                <c:pt idx="1203">
                  <c:v>0</c:v>
                </c:pt>
                <c:pt idx="1204">
                  <c:v>0</c:v>
                </c:pt>
                <c:pt idx="1205">
                  <c:v>0</c:v>
                </c:pt>
                <c:pt idx="1206">
                  <c:v>0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0</c:v>
                </c:pt>
                <c:pt idx="1228">
                  <c:v>0</c:v>
                </c:pt>
                <c:pt idx="1229">
                  <c:v>0</c:v>
                </c:pt>
                <c:pt idx="1230">
                  <c:v>0</c:v>
                </c:pt>
                <c:pt idx="1231">
                  <c:v>0</c:v>
                </c:pt>
                <c:pt idx="1232">
                  <c:v>0</c:v>
                </c:pt>
                <c:pt idx="1233">
                  <c:v>0</c:v>
                </c:pt>
                <c:pt idx="1234">
                  <c:v>0</c:v>
                </c:pt>
                <c:pt idx="1235">
                  <c:v>0</c:v>
                </c:pt>
                <c:pt idx="1236">
                  <c:v>0</c:v>
                </c:pt>
                <c:pt idx="1237">
                  <c:v>0</c:v>
                </c:pt>
                <c:pt idx="1238">
                  <c:v>0</c:v>
                </c:pt>
                <c:pt idx="1239">
                  <c:v>0</c:v>
                </c:pt>
                <c:pt idx="1240">
                  <c:v>0</c:v>
                </c:pt>
                <c:pt idx="1241">
                  <c:v>0</c:v>
                </c:pt>
                <c:pt idx="1242">
                  <c:v>0</c:v>
                </c:pt>
                <c:pt idx="1243">
                  <c:v>0</c:v>
                </c:pt>
                <c:pt idx="1244">
                  <c:v>0</c:v>
                </c:pt>
                <c:pt idx="1245">
                  <c:v>0</c:v>
                </c:pt>
                <c:pt idx="1246">
                  <c:v>0</c:v>
                </c:pt>
                <c:pt idx="1247">
                  <c:v>0</c:v>
                </c:pt>
                <c:pt idx="1248">
                  <c:v>0</c:v>
                </c:pt>
                <c:pt idx="1249">
                  <c:v>0</c:v>
                </c:pt>
                <c:pt idx="1250">
                  <c:v>0</c:v>
                </c:pt>
                <c:pt idx="1251">
                  <c:v>0</c:v>
                </c:pt>
                <c:pt idx="1252">
                  <c:v>0</c:v>
                </c:pt>
                <c:pt idx="1253">
                  <c:v>0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0</c:v>
                </c:pt>
                <c:pt idx="1258">
                  <c:v>0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0</c:v>
                </c:pt>
                <c:pt idx="1273">
                  <c:v>0</c:v>
                </c:pt>
                <c:pt idx="1274">
                  <c:v>0</c:v>
                </c:pt>
                <c:pt idx="1275">
                  <c:v>0</c:v>
                </c:pt>
                <c:pt idx="1276">
                  <c:v>0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0</c:v>
                </c:pt>
                <c:pt idx="1282">
                  <c:v>0</c:v>
                </c:pt>
                <c:pt idx="1283">
                  <c:v>0</c:v>
                </c:pt>
                <c:pt idx="1284">
                  <c:v>0</c:v>
                </c:pt>
                <c:pt idx="1285">
                  <c:v>0</c:v>
                </c:pt>
                <c:pt idx="1286">
                  <c:v>0</c:v>
                </c:pt>
                <c:pt idx="1287">
                  <c:v>0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  <c:pt idx="1319">
                  <c:v>0</c:v>
                </c:pt>
                <c:pt idx="1320">
                  <c:v>0</c:v>
                </c:pt>
                <c:pt idx="1321">
                  <c:v>0</c:v>
                </c:pt>
                <c:pt idx="1322">
                  <c:v>0</c:v>
                </c:pt>
                <c:pt idx="1323">
                  <c:v>0</c:v>
                </c:pt>
                <c:pt idx="1324">
                  <c:v>0</c:v>
                </c:pt>
                <c:pt idx="1325">
                  <c:v>0</c:v>
                </c:pt>
                <c:pt idx="1326">
                  <c:v>0</c:v>
                </c:pt>
                <c:pt idx="1327">
                  <c:v>0</c:v>
                </c:pt>
                <c:pt idx="1328">
                  <c:v>0</c:v>
                </c:pt>
                <c:pt idx="1329">
                  <c:v>0</c:v>
                </c:pt>
                <c:pt idx="1330">
                  <c:v>0</c:v>
                </c:pt>
                <c:pt idx="1331">
                  <c:v>0</c:v>
                </c:pt>
                <c:pt idx="1332">
                  <c:v>0</c:v>
                </c:pt>
                <c:pt idx="1333">
                  <c:v>0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0</c:v>
                </c:pt>
                <c:pt idx="1338">
                  <c:v>0</c:v>
                </c:pt>
                <c:pt idx="1339">
                  <c:v>0</c:v>
                </c:pt>
                <c:pt idx="1340">
                  <c:v>0</c:v>
                </c:pt>
                <c:pt idx="1341">
                  <c:v>0</c:v>
                </c:pt>
                <c:pt idx="1342">
                  <c:v>0</c:v>
                </c:pt>
                <c:pt idx="1343">
                  <c:v>0</c:v>
                </c:pt>
                <c:pt idx="1344">
                  <c:v>0</c:v>
                </c:pt>
                <c:pt idx="1345">
                  <c:v>0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0</c:v>
                </c:pt>
                <c:pt idx="1378">
                  <c:v>0</c:v>
                </c:pt>
                <c:pt idx="1379">
                  <c:v>0</c:v>
                </c:pt>
                <c:pt idx="1380">
                  <c:v>0</c:v>
                </c:pt>
                <c:pt idx="1381">
                  <c:v>0</c:v>
                </c:pt>
                <c:pt idx="1382">
                  <c:v>0</c:v>
                </c:pt>
                <c:pt idx="1383">
                  <c:v>0</c:v>
                </c:pt>
                <c:pt idx="1384">
                  <c:v>0</c:v>
                </c:pt>
                <c:pt idx="1385">
                  <c:v>0</c:v>
                </c:pt>
                <c:pt idx="1386">
                  <c:v>0</c:v>
                </c:pt>
                <c:pt idx="1387">
                  <c:v>0</c:v>
                </c:pt>
                <c:pt idx="1388">
                  <c:v>0</c:v>
                </c:pt>
                <c:pt idx="1389">
                  <c:v>0</c:v>
                </c:pt>
                <c:pt idx="1390">
                  <c:v>0</c:v>
                </c:pt>
                <c:pt idx="1391">
                  <c:v>0</c:v>
                </c:pt>
                <c:pt idx="1392">
                  <c:v>0</c:v>
                </c:pt>
                <c:pt idx="1393">
                  <c:v>0</c:v>
                </c:pt>
                <c:pt idx="1394">
                  <c:v>0</c:v>
                </c:pt>
                <c:pt idx="1395">
                  <c:v>0</c:v>
                </c:pt>
                <c:pt idx="1396">
                  <c:v>0</c:v>
                </c:pt>
                <c:pt idx="1397">
                  <c:v>0</c:v>
                </c:pt>
                <c:pt idx="1398">
                  <c:v>0</c:v>
                </c:pt>
                <c:pt idx="1399">
                  <c:v>0</c:v>
                </c:pt>
                <c:pt idx="1400">
                  <c:v>0</c:v>
                </c:pt>
                <c:pt idx="1401">
                  <c:v>0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0</c:v>
                </c:pt>
                <c:pt idx="1415">
                  <c:v>0</c:v>
                </c:pt>
                <c:pt idx="1416">
                  <c:v>0</c:v>
                </c:pt>
                <c:pt idx="1417">
                  <c:v>0</c:v>
                </c:pt>
                <c:pt idx="1418">
                  <c:v>0</c:v>
                </c:pt>
                <c:pt idx="1419">
                  <c:v>0</c:v>
                </c:pt>
                <c:pt idx="1420">
                  <c:v>0</c:v>
                </c:pt>
                <c:pt idx="1421">
                  <c:v>0</c:v>
                </c:pt>
                <c:pt idx="1422">
                  <c:v>0</c:v>
                </c:pt>
                <c:pt idx="1423">
                  <c:v>0</c:v>
                </c:pt>
                <c:pt idx="1424">
                  <c:v>0</c:v>
                </c:pt>
                <c:pt idx="1425">
                  <c:v>0</c:v>
                </c:pt>
                <c:pt idx="1426">
                  <c:v>0</c:v>
                </c:pt>
                <c:pt idx="1427">
                  <c:v>0</c:v>
                </c:pt>
                <c:pt idx="1428">
                  <c:v>0</c:v>
                </c:pt>
                <c:pt idx="1429">
                  <c:v>0</c:v>
                </c:pt>
                <c:pt idx="1430">
                  <c:v>0</c:v>
                </c:pt>
                <c:pt idx="1431">
                  <c:v>0</c:v>
                </c:pt>
                <c:pt idx="1432">
                  <c:v>0</c:v>
                </c:pt>
                <c:pt idx="1433">
                  <c:v>0</c:v>
                </c:pt>
                <c:pt idx="1434">
                  <c:v>0</c:v>
                </c:pt>
                <c:pt idx="1435">
                  <c:v>0</c:v>
                </c:pt>
                <c:pt idx="1436">
                  <c:v>0</c:v>
                </c:pt>
                <c:pt idx="1437">
                  <c:v>0</c:v>
                </c:pt>
                <c:pt idx="1438">
                  <c:v>0</c:v>
                </c:pt>
                <c:pt idx="1439">
                  <c:v>0</c:v>
                </c:pt>
                <c:pt idx="1440">
                  <c:v>0</c:v>
                </c:pt>
                <c:pt idx="1441">
                  <c:v>0</c:v>
                </c:pt>
                <c:pt idx="1442">
                  <c:v>0</c:v>
                </c:pt>
                <c:pt idx="1443">
                  <c:v>0</c:v>
                </c:pt>
                <c:pt idx="1444">
                  <c:v>0</c:v>
                </c:pt>
                <c:pt idx="1445">
                  <c:v>0</c:v>
                </c:pt>
                <c:pt idx="1446">
                  <c:v>0</c:v>
                </c:pt>
                <c:pt idx="1447">
                  <c:v>0</c:v>
                </c:pt>
                <c:pt idx="1448">
                  <c:v>0</c:v>
                </c:pt>
                <c:pt idx="1449">
                  <c:v>0</c:v>
                </c:pt>
                <c:pt idx="1450">
                  <c:v>0</c:v>
                </c:pt>
                <c:pt idx="1451">
                  <c:v>0</c:v>
                </c:pt>
                <c:pt idx="1452">
                  <c:v>0</c:v>
                </c:pt>
                <c:pt idx="1453">
                  <c:v>0</c:v>
                </c:pt>
                <c:pt idx="1454">
                  <c:v>0</c:v>
                </c:pt>
                <c:pt idx="1455">
                  <c:v>0</c:v>
                </c:pt>
                <c:pt idx="1456">
                  <c:v>0</c:v>
                </c:pt>
                <c:pt idx="1457">
                  <c:v>0</c:v>
                </c:pt>
                <c:pt idx="1458">
                  <c:v>0</c:v>
                </c:pt>
                <c:pt idx="1459">
                  <c:v>0</c:v>
                </c:pt>
                <c:pt idx="1460">
                  <c:v>0</c:v>
                </c:pt>
                <c:pt idx="1461">
                  <c:v>0</c:v>
                </c:pt>
                <c:pt idx="1462">
                  <c:v>0</c:v>
                </c:pt>
                <c:pt idx="1463">
                  <c:v>0</c:v>
                </c:pt>
                <c:pt idx="1464">
                  <c:v>0</c:v>
                </c:pt>
                <c:pt idx="1465">
                  <c:v>0</c:v>
                </c:pt>
                <c:pt idx="1466">
                  <c:v>0</c:v>
                </c:pt>
                <c:pt idx="1467">
                  <c:v>0</c:v>
                </c:pt>
                <c:pt idx="1468">
                  <c:v>0</c:v>
                </c:pt>
                <c:pt idx="1469">
                  <c:v>0</c:v>
                </c:pt>
                <c:pt idx="1470">
                  <c:v>0</c:v>
                </c:pt>
                <c:pt idx="1471">
                  <c:v>0</c:v>
                </c:pt>
                <c:pt idx="1472">
                  <c:v>0</c:v>
                </c:pt>
                <c:pt idx="1473">
                  <c:v>0</c:v>
                </c:pt>
                <c:pt idx="1474">
                  <c:v>0</c:v>
                </c:pt>
                <c:pt idx="1475">
                  <c:v>0</c:v>
                </c:pt>
                <c:pt idx="1476">
                  <c:v>0</c:v>
                </c:pt>
                <c:pt idx="1477">
                  <c:v>0</c:v>
                </c:pt>
                <c:pt idx="1478">
                  <c:v>0</c:v>
                </c:pt>
                <c:pt idx="1479">
                  <c:v>0</c:v>
                </c:pt>
                <c:pt idx="1480">
                  <c:v>0</c:v>
                </c:pt>
                <c:pt idx="1481">
                  <c:v>0</c:v>
                </c:pt>
                <c:pt idx="1482">
                  <c:v>0</c:v>
                </c:pt>
                <c:pt idx="1483">
                  <c:v>0</c:v>
                </c:pt>
                <c:pt idx="1484">
                  <c:v>0</c:v>
                </c:pt>
                <c:pt idx="1485">
                  <c:v>0</c:v>
                </c:pt>
                <c:pt idx="1486">
                  <c:v>0</c:v>
                </c:pt>
                <c:pt idx="1487">
                  <c:v>0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0</c:v>
                </c:pt>
                <c:pt idx="1506">
                  <c:v>0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0</c:v>
                </c:pt>
                <c:pt idx="1512">
                  <c:v>0</c:v>
                </c:pt>
                <c:pt idx="1513">
                  <c:v>0</c:v>
                </c:pt>
                <c:pt idx="1514">
                  <c:v>0</c:v>
                </c:pt>
                <c:pt idx="1515">
                  <c:v>0</c:v>
                </c:pt>
                <c:pt idx="1516">
                  <c:v>0</c:v>
                </c:pt>
                <c:pt idx="1517">
                  <c:v>0</c:v>
                </c:pt>
                <c:pt idx="1518">
                  <c:v>0</c:v>
                </c:pt>
                <c:pt idx="1519">
                  <c:v>0</c:v>
                </c:pt>
                <c:pt idx="1520">
                  <c:v>0</c:v>
                </c:pt>
                <c:pt idx="1521">
                  <c:v>0</c:v>
                </c:pt>
                <c:pt idx="1522">
                  <c:v>0</c:v>
                </c:pt>
                <c:pt idx="1523">
                  <c:v>0</c:v>
                </c:pt>
                <c:pt idx="1524">
                  <c:v>0</c:v>
                </c:pt>
                <c:pt idx="1525">
                  <c:v>0</c:v>
                </c:pt>
                <c:pt idx="1526">
                  <c:v>0</c:v>
                </c:pt>
                <c:pt idx="1527">
                  <c:v>0</c:v>
                </c:pt>
                <c:pt idx="1528">
                  <c:v>0</c:v>
                </c:pt>
                <c:pt idx="1529">
                  <c:v>0</c:v>
                </c:pt>
                <c:pt idx="1530">
                  <c:v>0</c:v>
                </c:pt>
                <c:pt idx="1531">
                  <c:v>0</c:v>
                </c:pt>
                <c:pt idx="1532">
                  <c:v>0</c:v>
                </c:pt>
                <c:pt idx="1533">
                  <c:v>0</c:v>
                </c:pt>
                <c:pt idx="1534">
                  <c:v>0</c:v>
                </c:pt>
                <c:pt idx="1535">
                  <c:v>0</c:v>
                </c:pt>
                <c:pt idx="1536">
                  <c:v>0</c:v>
                </c:pt>
                <c:pt idx="1537">
                  <c:v>0</c:v>
                </c:pt>
                <c:pt idx="1538">
                  <c:v>0</c:v>
                </c:pt>
                <c:pt idx="1539">
                  <c:v>0</c:v>
                </c:pt>
                <c:pt idx="1540">
                  <c:v>0</c:v>
                </c:pt>
                <c:pt idx="1541">
                  <c:v>0</c:v>
                </c:pt>
                <c:pt idx="1542">
                  <c:v>0</c:v>
                </c:pt>
                <c:pt idx="1543">
                  <c:v>0</c:v>
                </c:pt>
                <c:pt idx="1544">
                  <c:v>0</c:v>
                </c:pt>
                <c:pt idx="1545">
                  <c:v>0</c:v>
                </c:pt>
                <c:pt idx="1546">
                  <c:v>0</c:v>
                </c:pt>
                <c:pt idx="1547">
                  <c:v>0</c:v>
                </c:pt>
                <c:pt idx="1548">
                  <c:v>0</c:v>
                </c:pt>
                <c:pt idx="1549">
                  <c:v>0</c:v>
                </c:pt>
                <c:pt idx="1550">
                  <c:v>0</c:v>
                </c:pt>
                <c:pt idx="1551">
                  <c:v>0</c:v>
                </c:pt>
                <c:pt idx="1552">
                  <c:v>0</c:v>
                </c:pt>
                <c:pt idx="1553">
                  <c:v>0</c:v>
                </c:pt>
                <c:pt idx="1554">
                  <c:v>0</c:v>
                </c:pt>
                <c:pt idx="1555">
                  <c:v>0</c:v>
                </c:pt>
                <c:pt idx="1556">
                  <c:v>0</c:v>
                </c:pt>
                <c:pt idx="1557">
                  <c:v>0</c:v>
                </c:pt>
                <c:pt idx="1558">
                  <c:v>0</c:v>
                </c:pt>
                <c:pt idx="1559">
                  <c:v>0</c:v>
                </c:pt>
                <c:pt idx="1560">
                  <c:v>0</c:v>
                </c:pt>
                <c:pt idx="1561">
                  <c:v>0</c:v>
                </c:pt>
                <c:pt idx="1562">
                  <c:v>0</c:v>
                </c:pt>
                <c:pt idx="1563">
                  <c:v>0</c:v>
                </c:pt>
                <c:pt idx="1564">
                  <c:v>0</c:v>
                </c:pt>
                <c:pt idx="1565">
                  <c:v>0</c:v>
                </c:pt>
                <c:pt idx="1566">
                  <c:v>0</c:v>
                </c:pt>
                <c:pt idx="1567">
                  <c:v>0</c:v>
                </c:pt>
                <c:pt idx="1568">
                  <c:v>0</c:v>
                </c:pt>
                <c:pt idx="1569">
                  <c:v>0</c:v>
                </c:pt>
                <c:pt idx="1570">
                  <c:v>0</c:v>
                </c:pt>
                <c:pt idx="1571">
                  <c:v>0</c:v>
                </c:pt>
                <c:pt idx="1572">
                  <c:v>0</c:v>
                </c:pt>
                <c:pt idx="1573">
                  <c:v>0</c:v>
                </c:pt>
                <c:pt idx="1574">
                  <c:v>0</c:v>
                </c:pt>
                <c:pt idx="1575">
                  <c:v>0</c:v>
                </c:pt>
                <c:pt idx="1576">
                  <c:v>0</c:v>
                </c:pt>
                <c:pt idx="1577">
                  <c:v>0</c:v>
                </c:pt>
                <c:pt idx="1578">
                  <c:v>0</c:v>
                </c:pt>
                <c:pt idx="1579">
                  <c:v>0</c:v>
                </c:pt>
                <c:pt idx="1580">
                  <c:v>0</c:v>
                </c:pt>
                <c:pt idx="1581">
                  <c:v>0</c:v>
                </c:pt>
                <c:pt idx="1582">
                  <c:v>0</c:v>
                </c:pt>
                <c:pt idx="1583">
                  <c:v>0</c:v>
                </c:pt>
                <c:pt idx="1584">
                  <c:v>0</c:v>
                </c:pt>
                <c:pt idx="1585">
                  <c:v>0</c:v>
                </c:pt>
                <c:pt idx="1586">
                  <c:v>0</c:v>
                </c:pt>
                <c:pt idx="1587">
                  <c:v>0</c:v>
                </c:pt>
                <c:pt idx="1588">
                  <c:v>0</c:v>
                </c:pt>
                <c:pt idx="1589">
                  <c:v>0</c:v>
                </c:pt>
                <c:pt idx="1590">
                  <c:v>0</c:v>
                </c:pt>
                <c:pt idx="1591">
                  <c:v>0</c:v>
                </c:pt>
                <c:pt idx="1592">
                  <c:v>0</c:v>
                </c:pt>
                <c:pt idx="1593">
                  <c:v>0</c:v>
                </c:pt>
                <c:pt idx="1594">
                  <c:v>0</c:v>
                </c:pt>
                <c:pt idx="1595">
                  <c:v>0</c:v>
                </c:pt>
                <c:pt idx="1596">
                  <c:v>0</c:v>
                </c:pt>
                <c:pt idx="1597">
                  <c:v>0</c:v>
                </c:pt>
                <c:pt idx="1598">
                  <c:v>0</c:v>
                </c:pt>
                <c:pt idx="1599">
                  <c:v>0</c:v>
                </c:pt>
                <c:pt idx="1600">
                  <c:v>0</c:v>
                </c:pt>
                <c:pt idx="1601">
                  <c:v>0</c:v>
                </c:pt>
                <c:pt idx="1602">
                  <c:v>0</c:v>
                </c:pt>
                <c:pt idx="1603">
                  <c:v>0</c:v>
                </c:pt>
                <c:pt idx="1604">
                  <c:v>0</c:v>
                </c:pt>
                <c:pt idx="1605">
                  <c:v>0</c:v>
                </c:pt>
                <c:pt idx="1606">
                  <c:v>0</c:v>
                </c:pt>
                <c:pt idx="1607">
                  <c:v>0</c:v>
                </c:pt>
                <c:pt idx="1608">
                  <c:v>0</c:v>
                </c:pt>
                <c:pt idx="1609">
                  <c:v>0</c:v>
                </c:pt>
                <c:pt idx="1610">
                  <c:v>0</c:v>
                </c:pt>
                <c:pt idx="1611">
                  <c:v>0</c:v>
                </c:pt>
                <c:pt idx="1612">
                  <c:v>0</c:v>
                </c:pt>
                <c:pt idx="1613">
                  <c:v>0</c:v>
                </c:pt>
                <c:pt idx="1614">
                  <c:v>0</c:v>
                </c:pt>
                <c:pt idx="1615">
                  <c:v>0</c:v>
                </c:pt>
                <c:pt idx="1616">
                  <c:v>0</c:v>
                </c:pt>
                <c:pt idx="1617">
                  <c:v>0</c:v>
                </c:pt>
                <c:pt idx="1618">
                  <c:v>0</c:v>
                </c:pt>
                <c:pt idx="1619">
                  <c:v>0</c:v>
                </c:pt>
                <c:pt idx="1620">
                  <c:v>0</c:v>
                </c:pt>
                <c:pt idx="1621">
                  <c:v>0</c:v>
                </c:pt>
                <c:pt idx="1622">
                  <c:v>0</c:v>
                </c:pt>
                <c:pt idx="1623">
                  <c:v>0</c:v>
                </c:pt>
                <c:pt idx="1624">
                  <c:v>0</c:v>
                </c:pt>
                <c:pt idx="1625">
                  <c:v>0</c:v>
                </c:pt>
                <c:pt idx="1626">
                  <c:v>0</c:v>
                </c:pt>
                <c:pt idx="1627">
                  <c:v>0</c:v>
                </c:pt>
                <c:pt idx="1628">
                  <c:v>0</c:v>
                </c:pt>
                <c:pt idx="1629">
                  <c:v>0</c:v>
                </c:pt>
                <c:pt idx="1630">
                  <c:v>0</c:v>
                </c:pt>
                <c:pt idx="1631">
                  <c:v>0</c:v>
                </c:pt>
                <c:pt idx="1632">
                  <c:v>0</c:v>
                </c:pt>
                <c:pt idx="1633">
                  <c:v>0</c:v>
                </c:pt>
                <c:pt idx="1634">
                  <c:v>0</c:v>
                </c:pt>
                <c:pt idx="1635">
                  <c:v>0</c:v>
                </c:pt>
                <c:pt idx="1636">
                  <c:v>0</c:v>
                </c:pt>
                <c:pt idx="1637">
                  <c:v>0</c:v>
                </c:pt>
                <c:pt idx="1638">
                  <c:v>0</c:v>
                </c:pt>
                <c:pt idx="1639">
                  <c:v>0</c:v>
                </c:pt>
                <c:pt idx="1640">
                  <c:v>0</c:v>
                </c:pt>
                <c:pt idx="1641">
                  <c:v>0</c:v>
                </c:pt>
                <c:pt idx="1642">
                  <c:v>0</c:v>
                </c:pt>
                <c:pt idx="1643">
                  <c:v>0</c:v>
                </c:pt>
                <c:pt idx="1644">
                  <c:v>0</c:v>
                </c:pt>
                <c:pt idx="1645">
                  <c:v>0</c:v>
                </c:pt>
                <c:pt idx="1646">
                  <c:v>0</c:v>
                </c:pt>
                <c:pt idx="1647">
                  <c:v>0</c:v>
                </c:pt>
                <c:pt idx="1648">
                  <c:v>0</c:v>
                </c:pt>
                <c:pt idx="1649">
                  <c:v>0</c:v>
                </c:pt>
                <c:pt idx="1650">
                  <c:v>0</c:v>
                </c:pt>
                <c:pt idx="1651">
                  <c:v>0</c:v>
                </c:pt>
                <c:pt idx="1652">
                  <c:v>0</c:v>
                </c:pt>
                <c:pt idx="1653">
                  <c:v>0</c:v>
                </c:pt>
                <c:pt idx="1654">
                  <c:v>0</c:v>
                </c:pt>
                <c:pt idx="1655">
                  <c:v>0</c:v>
                </c:pt>
                <c:pt idx="1656">
                  <c:v>0</c:v>
                </c:pt>
                <c:pt idx="1657">
                  <c:v>0</c:v>
                </c:pt>
                <c:pt idx="1658">
                  <c:v>0</c:v>
                </c:pt>
                <c:pt idx="1659">
                  <c:v>0</c:v>
                </c:pt>
                <c:pt idx="1660">
                  <c:v>0</c:v>
                </c:pt>
                <c:pt idx="1661">
                  <c:v>0</c:v>
                </c:pt>
                <c:pt idx="1662">
                  <c:v>0</c:v>
                </c:pt>
                <c:pt idx="1663">
                  <c:v>0</c:v>
                </c:pt>
                <c:pt idx="1664">
                  <c:v>0</c:v>
                </c:pt>
                <c:pt idx="1665">
                  <c:v>0</c:v>
                </c:pt>
                <c:pt idx="1666">
                  <c:v>0</c:v>
                </c:pt>
                <c:pt idx="1667">
                  <c:v>0</c:v>
                </c:pt>
                <c:pt idx="1668">
                  <c:v>0</c:v>
                </c:pt>
                <c:pt idx="1669">
                  <c:v>0</c:v>
                </c:pt>
                <c:pt idx="1670">
                  <c:v>0</c:v>
                </c:pt>
                <c:pt idx="1671">
                  <c:v>0</c:v>
                </c:pt>
                <c:pt idx="1672">
                  <c:v>0</c:v>
                </c:pt>
                <c:pt idx="1673">
                  <c:v>0</c:v>
                </c:pt>
                <c:pt idx="1674">
                  <c:v>0</c:v>
                </c:pt>
                <c:pt idx="1675">
                  <c:v>0</c:v>
                </c:pt>
                <c:pt idx="1676">
                  <c:v>0</c:v>
                </c:pt>
                <c:pt idx="1677">
                  <c:v>0</c:v>
                </c:pt>
                <c:pt idx="1678">
                  <c:v>0</c:v>
                </c:pt>
                <c:pt idx="1679">
                  <c:v>0</c:v>
                </c:pt>
                <c:pt idx="1680">
                  <c:v>0</c:v>
                </c:pt>
                <c:pt idx="1681">
                  <c:v>0</c:v>
                </c:pt>
                <c:pt idx="1682">
                  <c:v>0</c:v>
                </c:pt>
                <c:pt idx="1683">
                  <c:v>0</c:v>
                </c:pt>
                <c:pt idx="1684">
                  <c:v>0</c:v>
                </c:pt>
                <c:pt idx="1685">
                  <c:v>0</c:v>
                </c:pt>
                <c:pt idx="1686">
                  <c:v>0</c:v>
                </c:pt>
                <c:pt idx="1687">
                  <c:v>0</c:v>
                </c:pt>
                <c:pt idx="1688">
                  <c:v>0</c:v>
                </c:pt>
                <c:pt idx="1689">
                  <c:v>0</c:v>
                </c:pt>
                <c:pt idx="1690">
                  <c:v>0</c:v>
                </c:pt>
                <c:pt idx="1691">
                  <c:v>0</c:v>
                </c:pt>
                <c:pt idx="1692">
                  <c:v>0</c:v>
                </c:pt>
                <c:pt idx="1693">
                  <c:v>0</c:v>
                </c:pt>
                <c:pt idx="1694">
                  <c:v>0</c:v>
                </c:pt>
                <c:pt idx="1695">
                  <c:v>0</c:v>
                </c:pt>
                <c:pt idx="1696">
                  <c:v>0</c:v>
                </c:pt>
                <c:pt idx="1697">
                  <c:v>0</c:v>
                </c:pt>
                <c:pt idx="1698">
                  <c:v>0</c:v>
                </c:pt>
                <c:pt idx="1699">
                  <c:v>0</c:v>
                </c:pt>
                <c:pt idx="1700">
                  <c:v>0</c:v>
                </c:pt>
                <c:pt idx="1701">
                  <c:v>0</c:v>
                </c:pt>
                <c:pt idx="1702">
                  <c:v>0</c:v>
                </c:pt>
                <c:pt idx="1703">
                  <c:v>0</c:v>
                </c:pt>
                <c:pt idx="1704">
                  <c:v>0</c:v>
                </c:pt>
                <c:pt idx="1705">
                  <c:v>0</c:v>
                </c:pt>
                <c:pt idx="1706">
                  <c:v>0</c:v>
                </c:pt>
                <c:pt idx="1707">
                  <c:v>0</c:v>
                </c:pt>
                <c:pt idx="1708">
                  <c:v>0</c:v>
                </c:pt>
                <c:pt idx="1709">
                  <c:v>0</c:v>
                </c:pt>
                <c:pt idx="1710">
                  <c:v>0</c:v>
                </c:pt>
                <c:pt idx="1711">
                  <c:v>0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0</c:v>
                </c:pt>
                <c:pt idx="1733">
                  <c:v>0</c:v>
                </c:pt>
                <c:pt idx="1734">
                  <c:v>0</c:v>
                </c:pt>
                <c:pt idx="1735">
                  <c:v>0</c:v>
                </c:pt>
                <c:pt idx="1736">
                  <c:v>0</c:v>
                </c:pt>
                <c:pt idx="1737">
                  <c:v>0</c:v>
                </c:pt>
                <c:pt idx="1738">
                  <c:v>0</c:v>
                </c:pt>
                <c:pt idx="1739">
                  <c:v>0</c:v>
                </c:pt>
                <c:pt idx="1740">
                  <c:v>0</c:v>
                </c:pt>
                <c:pt idx="1741">
                  <c:v>0</c:v>
                </c:pt>
                <c:pt idx="1742">
                  <c:v>0</c:v>
                </c:pt>
                <c:pt idx="1743">
                  <c:v>0</c:v>
                </c:pt>
                <c:pt idx="1744">
                  <c:v>0</c:v>
                </c:pt>
                <c:pt idx="1745">
                  <c:v>0</c:v>
                </c:pt>
                <c:pt idx="1746">
                  <c:v>0</c:v>
                </c:pt>
                <c:pt idx="1747">
                  <c:v>0</c:v>
                </c:pt>
                <c:pt idx="1748">
                  <c:v>0</c:v>
                </c:pt>
                <c:pt idx="1749">
                  <c:v>0</c:v>
                </c:pt>
                <c:pt idx="1750">
                  <c:v>0</c:v>
                </c:pt>
                <c:pt idx="1751">
                  <c:v>0</c:v>
                </c:pt>
                <c:pt idx="1752">
                  <c:v>0</c:v>
                </c:pt>
                <c:pt idx="1753">
                  <c:v>0</c:v>
                </c:pt>
                <c:pt idx="1754">
                  <c:v>0</c:v>
                </c:pt>
                <c:pt idx="1755">
                  <c:v>0</c:v>
                </c:pt>
                <c:pt idx="1756">
                  <c:v>0</c:v>
                </c:pt>
                <c:pt idx="1757">
                  <c:v>0</c:v>
                </c:pt>
                <c:pt idx="1758">
                  <c:v>0</c:v>
                </c:pt>
                <c:pt idx="1759">
                  <c:v>0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</c:v>
                </c:pt>
                <c:pt idx="1764">
                  <c:v>0</c:v>
                </c:pt>
                <c:pt idx="1765">
                  <c:v>0</c:v>
                </c:pt>
                <c:pt idx="1766">
                  <c:v>0</c:v>
                </c:pt>
                <c:pt idx="1767">
                  <c:v>0</c:v>
                </c:pt>
                <c:pt idx="1768">
                  <c:v>0</c:v>
                </c:pt>
                <c:pt idx="1769">
                  <c:v>0</c:v>
                </c:pt>
                <c:pt idx="1770">
                  <c:v>0</c:v>
                </c:pt>
                <c:pt idx="1771">
                  <c:v>0</c:v>
                </c:pt>
                <c:pt idx="1772">
                  <c:v>0</c:v>
                </c:pt>
                <c:pt idx="1773">
                  <c:v>0</c:v>
                </c:pt>
                <c:pt idx="1774">
                  <c:v>0</c:v>
                </c:pt>
                <c:pt idx="1775">
                  <c:v>0</c:v>
                </c:pt>
                <c:pt idx="1776">
                  <c:v>0</c:v>
                </c:pt>
                <c:pt idx="1777">
                  <c:v>0</c:v>
                </c:pt>
                <c:pt idx="1778">
                  <c:v>0</c:v>
                </c:pt>
                <c:pt idx="1779">
                  <c:v>0</c:v>
                </c:pt>
                <c:pt idx="1780">
                  <c:v>0</c:v>
                </c:pt>
                <c:pt idx="1781">
                  <c:v>0</c:v>
                </c:pt>
                <c:pt idx="1782">
                  <c:v>0</c:v>
                </c:pt>
                <c:pt idx="1783">
                  <c:v>0</c:v>
                </c:pt>
                <c:pt idx="1784">
                  <c:v>0</c:v>
                </c:pt>
                <c:pt idx="1785">
                  <c:v>0</c:v>
                </c:pt>
                <c:pt idx="1786">
                  <c:v>0</c:v>
                </c:pt>
                <c:pt idx="1787">
                  <c:v>0</c:v>
                </c:pt>
                <c:pt idx="1788">
                  <c:v>0</c:v>
                </c:pt>
                <c:pt idx="1789">
                  <c:v>0</c:v>
                </c:pt>
                <c:pt idx="1790">
                  <c:v>0</c:v>
                </c:pt>
                <c:pt idx="1791">
                  <c:v>0</c:v>
                </c:pt>
                <c:pt idx="1792">
                  <c:v>0</c:v>
                </c:pt>
                <c:pt idx="1793">
                  <c:v>0</c:v>
                </c:pt>
                <c:pt idx="1794">
                  <c:v>0</c:v>
                </c:pt>
                <c:pt idx="1795">
                  <c:v>0</c:v>
                </c:pt>
                <c:pt idx="1796">
                  <c:v>0</c:v>
                </c:pt>
                <c:pt idx="1797">
                  <c:v>0</c:v>
                </c:pt>
                <c:pt idx="1798">
                  <c:v>0</c:v>
                </c:pt>
                <c:pt idx="1799">
                  <c:v>0</c:v>
                </c:pt>
                <c:pt idx="1800">
                  <c:v>0</c:v>
                </c:pt>
                <c:pt idx="1801">
                  <c:v>0</c:v>
                </c:pt>
                <c:pt idx="1802">
                  <c:v>0</c:v>
                </c:pt>
                <c:pt idx="1803">
                  <c:v>0</c:v>
                </c:pt>
                <c:pt idx="1804">
                  <c:v>0</c:v>
                </c:pt>
                <c:pt idx="1805">
                  <c:v>0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0</c:v>
                </c:pt>
                <c:pt idx="1810">
                  <c:v>0</c:v>
                </c:pt>
                <c:pt idx="1811">
                  <c:v>0</c:v>
                </c:pt>
                <c:pt idx="1812">
                  <c:v>0</c:v>
                </c:pt>
                <c:pt idx="1813">
                  <c:v>0</c:v>
                </c:pt>
                <c:pt idx="1814">
                  <c:v>0</c:v>
                </c:pt>
                <c:pt idx="1815">
                  <c:v>0</c:v>
                </c:pt>
                <c:pt idx="1816">
                  <c:v>0</c:v>
                </c:pt>
                <c:pt idx="1817">
                  <c:v>0</c:v>
                </c:pt>
                <c:pt idx="1818">
                  <c:v>0</c:v>
                </c:pt>
                <c:pt idx="1819">
                  <c:v>0</c:v>
                </c:pt>
                <c:pt idx="1820">
                  <c:v>0</c:v>
                </c:pt>
                <c:pt idx="1821">
                  <c:v>0</c:v>
                </c:pt>
                <c:pt idx="1822">
                  <c:v>0</c:v>
                </c:pt>
                <c:pt idx="1823">
                  <c:v>0</c:v>
                </c:pt>
                <c:pt idx="1824">
                  <c:v>0</c:v>
                </c:pt>
                <c:pt idx="1825">
                  <c:v>0</c:v>
                </c:pt>
                <c:pt idx="1826">
                  <c:v>0</c:v>
                </c:pt>
                <c:pt idx="1827">
                  <c:v>0</c:v>
                </c:pt>
                <c:pt idx="1828">
                  <c:v>0</c:v>
                </c:pt>
                <c:pt idx="1829">
                  <c:v>0</c:v>
                </c:pt>
                <c:pt idx="1830">
                  <c:v>0</c:v>
                </c:pt>
                <c:pt idx="1831">
                  <c:v>0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0</c:v>
                </c:pt>
                <c:pt idx="1836">
                  <c:v>0</c:v>
                </c:pt>
                <c:pt idx="1837">
                  <c:v>0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0</c:v>
                </c:pt>
                <c:pt idx="1842">
                  <c:v>0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0</c:v>
                </c:pt>
                <c:pt idx="1864">
                  <c:v>0</c:v>
                </c:pt>
                <c:pt idx="1865">
                  <c:v>0</c:v>
                </c:pt>
                <c:pt idx="1866">
                  <c:v>0</c:v>
                </c:pt>
                <c:pt idx="1867">
                  <c:v>0</c:v>
                </c:pt>
                <c:pt idx="1868">
                  <c:v>0</c:v>
                </c:pt>
                <c:pt idx="1869">
                  <c:v>0</c:v>
                </c:pt>
                <c:pt idx="1870">
                  <c:v>0</c:v>
                </c:pt>
                <c:pt idx="1871">
                  <c:v>0</c:v>
                </c:pt>
                <c:pt idx="1872">
                  <c:v>0</c:v>
                </c:pt>
                <c:pt idx="1873">
                  <c:v>0</c:v>
                </c:pt>
                <c:pt idx="1874">
                  <c:v>0</c:v>
                </c:pt>
                <c:pt idx="1875">
                  <c:v>0</c:v>
                </c:pt>
                <c:pt idx="1876">
                  <c:v>0</c:v>
                </c:pt>
                <c:pt idx="1877">
                  <c:v>0</c:v>
                </c:pt>
                <c:pt idx="1878">
                  <c:v>0</c:v>
                </c:pt>
                <c:pt idx="1879">
                  <c:v>0</c:v>
                </c:pt>
                <c:pt idx="1880">
                  <c:v>0</c:v>
                </c:pt>
                <c:pt idx="1881">
                  <c:v>0</c:v>
                </c:pt>
                <c:pt idx="1882">
                  <c:v>0</c:v>
                </c:pt>
                <c:pt idx="1883">
                  <c:v>0</c:v>
                </c:pt>
                <c:pt idx="1884">
                  <c:v>0</c:v>
                </c:pt>
                <c:pt idx="1885">
                  <c:v>0</c:v>
                </c:pt>
                <c:pt idx="1886">
                  <c:v>0</c:v>
                </c:pt>
                <c:pt idx="1887">
                  <c:v>0</c:v>
                </c:pt>
                <c:pt idx="1888">
                  <c:v>0</c:v>
                </c:pt>
                <c:pt idx="1889">
                  <c:v>0</c:v>
                </c:pt>
                <c:pt idx="1890">
                  <c:v>0</c:v>
                </c:pt>
                <c:pt idx="1891">
                  <c:v>0</c:v>
                </c:pt>
                <c:pt idx="1892">
                  <c:v>0</c:v>
                </c:pt>
                <c:pt idx="1893">
                  <c:v>0</c:v>
                </c:pt>
                <c:pt idx="1894">
                  <c:v>0</c:v>
                </c:pt>
                <c:pt idx="1895">
                  <c:v>0</c:v>
                </c:pt>
                <c:pt idx="1896">
                  <c:v>0</c:v>
                </c:pt>
                <c:pt idx="1897">
                  <c:v>0</c:v>
                </c:pt>
                <c:pt idx="1898">
                  <c:v>0</c:v>
                </c:pt>
                <c:pt idx="1899">
                  <c:v>0</c:v>
                </c:pt>
                <c:pt idx="1900">
                  <c:v>0</c:v>
                </c:pt>
                <c:pt idx="1901">
                  <c:v>0</c:v>
                </c:pt>
                <c:pt idx="1902">
                  <c:v>0</c:v>
                </c:pt>
                <c:pt idx="1903">
                  <c:v>0</c:v>
                </c:pt>
                <c:pt idx="1904">
                  <c:v>0</c:v>
                </c:pt>
                <c:pt idx="1905">
                  <c:v>0</c:v>
                </c:pt>
                <c:pt idx="1906">
                  <c:v>0</c:v>
                </c:pt>
                <c:pt idx="1907">
                  <c:v>0</c:v>
                </c:pt>
                <c:pt idx="1908">
                  <c:v>0</c:v>
                </c:pt>
                <c:pt idx="1909">
                  <c:v>0</c:v>
                </c:pt>
                <c:pt idx="1910">
                  <c:v>0</c:v>
                </c:pt>
                <c:pt idx="1911">
                  <c:v>0</c:v>
                </c:pt>
                <c:pt idx="1912">
                  <c:v>0</c:v>
                </c:pt>
                <c:pt idx="1913">
                  <c:v>0</c:v>
                </c:pt>
                <c:pt idx="1914">
                  <c:v>0</c:v>
                </c:pt>
                <c:pt idx="1915">
                  <c:v>0</c:v>
                </c:pt>
                <c:pt idx="1916">
                  <c:v>0</c:v>
                </c:pt>
                <c:pt idx="1917">
                  <c:v>0</c:v>
                </c:pt>
                <c:pt idx="1918">
                  <c:v>0</c:v>
                </c:pt>
                <c:pt idx="1919">
                  <c:v>0</c:v>
                </c:pt>
                <c:pt idx="1920">
                  <c:v>0</c:v>
                </c:pt>
                <c:pt idx="1921">
                  <c:v>0</c:v>
                </c:pt>
                <c:pt idx="1922">
                  <c:v>0</c:v>
                </c:pt>
                <c:pt idx="1923">
                  <c:v>0</c:v>
                </c:pt>
                <c:pt idx="1924">
                  <c:v>0</c:v>
                </c:pt>
                <c:pt idx="1925">
                  <c:v>0</c:v>
                </c:pt>
                <c:pt idx="1926">
                  <c:v>0</c:v>
                </c:pt>
                <c:pt idx="1927">
                  <c:v>0</c:v>
                </c:pt>
                <c:pt idx="1928">
                  <c:v>0</c:v>
                </c:pt>
                <c:pt idx="1929">
                  <c:v>0</c:v>
                </c:pt>
                <c:pt idx="1930">
                  <c:v>0</c:v>
                </c:pt>
                <c:pt idx="1931">
                  <c:v>0</c:v>
                </c:pt>
                <c:pt idx="1932">
                  <c:v>0</c:v>
                </c:pt>
                <c:pt idx="1933">
                  <c:v>0</c:v>
                </c:pt>
                <c:pt idx="1934">
                  <c:v>0</c:v>
                </c:pt>
                <c:pt idx="1935">
                  <c:v>0</c:v>
                </c:pt>
                <c:pt idx="1936">
                  <c:v>0</c:v>
                </c:pt>
                <c:pt idx="1937">
                  <c:v>0</c:v>
                </c:pt>
                <c:pt idx="1938">
                  <c:v>0</c:v>
                </c:pt>
                <c:pt idx="1939">
                  <c:v>0</c:v>
                </c:pt>
                <c:pt idx="1940">
                  <c:v>0</c:v>
                </c:pt>
                <c:pt idx="1941">
                  <c:v>0</c:v>
                </c:pt>
                <c:pt idx="1942">
                  <c:v>0</c:v>
                </c:pt>
                <c:pt idx="1943">
                  <c:v>0</c:v>
                </c:pt>
                <c:pt idx="1944">
                  <c:v>0</c:v>
                </c:pt>
                <c:pt idx="1945">
                  <c:v>0</c:v>
                </c:pt>
                <c:pt idx="1946">
                  <c:v>0</c:v>
                </c:pt>
                <c:pt idx="1947">
                  <c:v>0</c:v>
                </c:pt>
                <c:pt idx="1948">
                  <c:v>0</c:v>
                </c:pt>
                <c:pt idx="1949">
                  <c:v>0</c:v>
                </c:pt>
                <c:pt idx="1950">
                  <c:v>0</c:v>
                </c:pt>
                <c:pt idx="1951">
                  <c:v>0</c:v>
                </c:pt>
                <c:pt idx="1952">
                  <c:v>0</c:v>
                </c:pt>
                <c:pt idx="1953">
                  <c:v>0</c:v>
                </c:pt>
                <c:pt idx="1954">
                  <c:v>0</c:v>
                </c:pt>
                <c:pt idx="1955">
                  <c:v>0</c:v>
                </c:pt>
                <c:pt idx="1956">
                  <c:v>0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0</c:v>
                </c:pt>
                <c:pt idx="1961">
                  <c:v>0</c:v>
                </c:pt>
                <c:pt idx="1962">
                  <c:v>0</c:v>
                </c:pt>
                <c:pt idx="1963">
                  <c:v>0</c:v>
                </c:pt>
                <c:pt idx="1964">
                  <c:v>0</c:v>
                </c:pt>
                <c:pt idx="1965">
                  <c:v>0</c:v>
                </c:pt>
                <c:pt idx="1966">
                  <c:v>0</c:v>
                </c:pt>
                <c:pt idx="1967">
                  <c:v>0</c:v>
                </c:pt>
                <c:pt idx="1968">
                  <c:v>0</c:v>
                </c:pt>
                <c:pt idx="1969">
                  <c:v>0</c:v>
                </c:pt>
                <c:pt idx="1970">
                  <c:v>0</c:v>
                </c:pt>
                <c:pt idx="1971">
                  <c:v>0</c:v>
                </c:pt>
                <c:pt idx="1972">
                  <c:v>0</c:v>
                </c:pt>
                <c:pt idx="1973">
                  <c:v>0</c:v>
                </c:pt>
                <c:pt idx="1974">
                  <c:v>0</c:v>
                </c:pt>
                <c:pt idx="1975">
                  <c:v>0</c:v>
                </c:pt>
                <c:pt idx="1976">
                  <c:v>0</c:v>
                </c:pt>
                <c:pt idx="1977">
                  <c:v>0</c:v>
                </c:pt>
                <c:pt idx="1978">
                  <c:v>0</c:v>
                </c:pt>
                <c:pt idx="1979">
                  <c:v>0</c:v>
                </c:pt>
                <c:pt idx="1980">
                  <c:v>0</c:v>
                </c:pt>
                <c:pt idx="1981">
                  <c:v>0</c:v>
                </c:pt>
                <c:pt idx="1982">
                  <c:v>0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0</c:v>
                </c:pt>
                <c:pt idx="1987">
                  <c:v>0</c:v>
                </c:pt>
                <c:pt idx="1988">
                  <c:v>0</c:v>
                </c:pt>
                <c:pt idx="1989">
                  <c:v>0</c:v>
                </c:pt>
                <c:pt idx="1990">
                  <c:v>0</c:v>
                </c:pt>
                <c:pt idx="1991">
                  <c:v>0</c:v>
                </c:pt>
                <c:pt idx="1992">
                  <c:v>0</c:v>
                </c:pt>
                <c:pt idx="1993">
                  <c:v>0</c:v>
                </c:pt>
                <c:pt idx="1994">
                  <c:v>0</c:v>
                </c:pt>
                <c:pt idx="1995">
                  <c:v>0</c:v>
                </c:pt>
                <c:pt idx="1996">
                  <c:v>0</c:v>
                </c:pt>
                <c:pt idx="1997">
                  <c:v>0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0</c:v>
                </c:pt>
                <c:pt idx="2009">
                  <c:v>0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</c:v>
                </c:pt>
                <c:pt idx="2015">
                  <c:v>0</c:v>
                </c:pt>
                <c:pt idx="2016">
                  <c:v>0</c:v>
                </c:pt>
                <c:pt idx="2017">
                  <c:v>0</c:v>
                </c:pt>
                <c:pt idx="2018">
                  <c:v>0</c:v>
                </c:pt>
                <c:pt idx="2019">
                  <c:v>0</c:v>
                </c:pt>
                <c:pt idx="2020">
                  <c:v>0</c:v>
                </c:pt>
                <c:pt idx="2021">
                  <c:v>0</c:v>
                </c:pt>
                <c:pt idx="2022">
                  <c:v>0</c:v>
                </c:pt>
                <c:pt idx="2023">
                  <c:v>0</c:v>
                </c:pt>
                <c:pt idx="2024">
                  <c:v>0</c:v>
                </c:pt>
                <c:pt idx="2025">
                  <c:v>0</c:v>
                </c:pt>
                <c:pt idx="2026">
                  <c:v>0</c:v>
                </c:pt>
                <c:pt idx="2027">
                  <c:v>0</c:v>
                </c:pt>
                <c:pt idx="2028">
                  <c:v>0</c:v>
                </c:pt>
                <c:pt idx="2029">
                  <c:v>0</c:v>
                </c:pt>
                <c:pt idx="2030">
                  <c:v>0</c:v>
                </c:pt>
                <c:pt idx="2031">
                  <c:v>0</c:v>
                </c:pt>
                <c:pt idx="2032">
                  <c:v>0</c:v>
                </c:pt>
                <c:pt idx="2033">
                  <c:v>0</c:v>
                </c:pt>
                <c:pt idx="2034">
                  <c:v>0</c:v>
                </c:pt>
                <c:pt idx="2035">
                  <c:v>0</c:v>
                </c:pt>
                <c:pt idx="2036">
                  <c:v>0</c:v>
                </c:pt>
                <c:pt idx="2037">
                  <c:v>0</c:v>
                </c:pt>
                <c:pt idx="2038">
                  <c:v>0</c:v>
                </c:pt>
                <c:pt idx="2039">
                  <c:v>0</c:v>
                </c:pt>
                <c:pt idx="2040">
                  <c:v>0</c:v>
                </c:pt>
                <c:pt idx="2041">
                  <c:v>0</c:v>
                </c:pt>
                <c:pt idx="2042">
                  <c:v>0</c:v>
                </c:pt>
                <c:pt idx="2043">
                  <c:v>0</c:v>
                </c:pt>
                <c:pt idx="2044">
                  <c:v>0</c:v>
                </c:pt>
                <c:pt idx="2045">
                  <c:v>0</c:v>
                </c:pt>
                <c:pt idx="2046">
                  <c:v>0</c:v>
                </c:pt>
                <c:pt idx="2047">
                  <c:v>0</c:v>
                </c:pt>
                <c:pt idx="2048">
                  <c:v>0</c:v>
                </c:pt>
                <c:pt idx="2049">
                  <c:v>0</c:v>
                </c:pt>
                <c:pt idx="2050">
                  <c:v>0</c:v>
                </c:pt>
                <c:pt idx="2051">
                  <c:v>0</c:v>
                </c:pt>
                <c:pt idx="2052">
                  <c:v>0</c:v>
                </c:pt>
                <c:pt idx="2053">
                  <c:v>0</c:v>
                </c:pt>
                <c:pt idx="2054">
                  <c:v>0</c:v>
                </c:pt>
                <c:pt idx="2055">
                  <c:v>0</c:v>
                </c:pt>
                <c:pt idx="2056">
                  <c:v>0</c:v>
                </c:pt>
                <c:pt idx="2057">
                  <c:v>0</c:v>
                </c:pt>
                <c:pt idx="2058">
                  <c:v>0</c:v>
                </c:pt>
                <c:pt idx="2059">
                  <c:v>0</c:v>
                </c:pt>
                <c:pt idx="2060">
                  <c:v>0</c:v>
                </c:pt>
                <c:pt idx="2061">
                  <c:v>0</c:v>
                </c:pt>
                <c:pt idx="2062">
                  <c:v>0</c:v>
                </c:pt>
                <c:pt idx="2063">
                  <c:v>0</c:v>
                </c:pt>
                <c:pt idx="2064">
                  <c:v>0</c:v>
                </c:pt>
                <c:pt idx="2065">
                  <c:v>0</c:v>
                </c:pt>
                <c:pt idx="2066">
                  <c:v>0</c:v>
                </c:pt>
                <c:pt idx="2067">
                  <c:v>0</c:v>
                </c:pt>
                <c:pt idx="2068">
                  <c:v>0</c:v>
                </c:pt>
                <c:pt idx="2069">
                  <c:v>0</c:v>
                </c:pt>
                <c:pt idx="2070">
                  <c:v>0</c:v>
                </c:pt>
                <c:pt idx="2071">
                  <c:v>0</c:v>
                </c:pt>
                <c:pt idx="2072">
                  <c:v>0</c:v>
                </c:pt>
                <c:pt idx="2073">
                  <c:v>0</c:v>
                </c:pt>
                <c:pt idx="2074">
                  <c:v>0</c:v>
                </c:pt>
                <c:pt idx="2075">
                  <c:v>0</c:v>
                </c:pt>
                <c:pt idx="2076">
                  <c:v>0</c:v>
                </c:pt>
                <c:pt idx="2077">
                  <c:v>0</c:v>
                </c:pt>
                <c:pt idx="2078">
                  <c:v>0</c:v>
                </c:pt>
                <c:pt idx="2079">
                  <c:v>0</c:v>
                </c:pt>
                <c:pt idx="2080">
                  <c:v>0</c:v>
                </c:pt>
                <c:pt idx="2081">
                  <c:v>0</c:v>
                </c:pt>
                <c:pt idx="2082">
                  <c:v>0</c:v>
                </c:pt>
                <c:pt idx="2083">
                  <c:v>0</c:v>
                </c:pt>
                <c:pt idx="2084">
                  <c:v>0</c:v>
                </c:pt>
                <c:pt idx="2085">
                  <c:v>0</c:v>
                </c:pt>
                <c:pt idx="2086">
                  <c:v>0</c:v>
                </c:pt>
                <c:pt idx="2087">
                  <c:v>0</c:v>
                </c:pt>
                <c:pt idx="2088">
                  <c:v>0</c:v>
                </c:pt>
                <c:pt idx="2089">
                  <c:v>0</c:v>
                </c:pt>
                <c:pt idx="2090">
                  <c:v>0</c:v>
                </c:pt>
                <c:pt idx="2091">
                  <c:v>0</c:v>
                </c:pt>
                <c:pt idx="2092">
                  <c:v>0</c:v>
                </c:pt>
                <c:pt idx="2093">
                  <c:v>0</c:v>
                </c:pt>
                <c:pt idx="2094">
                  <c:v>0</c:v>
                </c:pt>
                <c:pt idx="2095">
                  <c:v>0</c:v>
                </c:pt>
                <c:pt idx="2096">
                  <c:v>0</c:v>
                </c:pt>
                <c:pt idx="2097">
                  <c:v>0</c:v>
                </c:pt>
                <c:pt idx="2098">
                  <c:v>0</c:v>
                </c:pt>
                <c:pt idx="2099">
                  <c:v>0</c:v>
                </c:pt>
                <c:pt idx="2100">
                  <c:v>0</c:v>
                </c:pt>
                <c:pt idx="2101">
                  <c:v>0</c:v>
                </c:pt>
                <c:pt idx="2102">
                  <c:v>0</c:v>
                </c:pt>
                <c:pt idx="2103">
                  <c:v>0</c:v>
                </c:pt>
                <c:pt idx="2104">
                  <c:v>0</c:v>
                </c:pt>
                <c:pt idx="2105">
                  <c:v>0</c:v>
                </c:pt>
                <c:pt idx="2106">
                  <c:v>0</c:v>
                </c:pt>
                <c:pt idx="2107">
                  <c:v>0</c:v>
                </c:pt>
                <c:pt idx="2108">
                  <c:v>0</c:v>
                </c:pt>
                <c:pt idx="2109">
                  <c:v>0</c:v>
                </c:pt>
                <c:pt idx="2110">
                  <c:v>0</c:v>
                </c:pt>
                <c:pt idx="2111">
                  <c:v>0</c:v>
                </c:pt>
                <c:pt idx="2112">
                  <c:v>0</c:v>
                </c:pt>
                <c:pt idx="2113">
                  <c:v>0</c:v>
                </c:pt>
                <c:pt idx="2114">
                  <c:v>0</c:v>
                </c:pt>
                <c:pt idx="2115">
                  <c:v>0</c:v>
                </c:pt>
                <c:pt idx="2116">
                  <c:v>0</c:v>
                </c:pt>
                <c:pt idx="2117">
                  <c:v>0</c:v>
                </c:pt>
                <c:pt idx="2118">
                  <c:v>0</c:v>
                </c:pt>
                <c:pt idx="2119">
                  <c:v>0</c:v>
                </c:pt>
                <c:pt idx="2120">
                  <c:v>0</c:v>
                </c:pt>
                <c:pt idx="2121">
                  <c:v>0</c:v>
                </c:pt>
                <c:pt idx="2122">
                  <c:v>0</c:v>
                </c:pt>
                <c:pt idx="2123">
                  <c:v>0</c:v>
                </c:pt>
                <c:pt idx="2124">
                  <c:v>0</c:v>
                </c:pt>
                <c:pt idx="2125">
                  <c:v>0</c:v>
                </c:pt>
                <c:pt idx="2126">
                  <c:v>0</c:v>
                </c:pt>
                <c:pt idx="2127">
                  <c:v>0</c:v>
                </c:pt>
                <c:pt idx="2128">
                  <c:v>0</c:v>
                </c:pt>
                <c:pt idx="2129">
                  <c:v>0</c:v>
                </c:pt>
                <c:pt idx="2130">
                  <c:v>0</c:v>
                </c:pt>
                <c:pt idx="2131">
                  <c:v>0</c:v>
                </c:pt>
                <c:pt idx="2132">
                  <c:v>0</c:v>
                </c:pt>
                <c:pt idx="2133">
                  <c:v>0</c:v>
                </c:pt>
                <c:pt idx="2134">
                  <c:v>0</c:v>
                </c:pt>
                <c:pt idx="2135">
                  <c:v>0</c:v>
                </c:pt>
                <c:pt idx="2136">
                  <c:v>0</c:v>
                </c:pt>
                <c:pt idx="2137">
                  <c:v>0</c:v>
                </c:pt>
                <c:pt idx="2138">
                  <c:v>0</c:v>
                </c:pt>
                <c:pt idx="2139">
                  <c:v>0</c:v>
                </c:pt>
                <c:pt idx="2140">
                  <c:v>0</c:v>
                </c:pt>
                <c:pt idx="2141">
                  <c:v>0</c:v>
                </c:pt>
                <c:pt idx="2142">
                  <c:v>0</c:v>
                </c:pt>
                <c:pt idx="2143">
                  <c:v>0</c:v>
                </c:pt>
                <c:pt idx="2144">
                  <c:v>0</c:v>
                </c:pt>
                <c:pt idx="2145">
                  <c:v>0</c:v>
                </c:pt>
                <c:pt idx="2146">
                  <c:v>0</c:v>
                </c:pt>
                <c:pt idx="2147">
                  <c:v>0</c:v>
                </c:pt>
                <c:pt idx="2148">
                  <c:v>0</c:v>
                </c:pt>
                <c:pt idx="2149">
                  <c:v>0</c:v>
                </c:pt>
                <c:pt idx="2150">
                  <c:v>0</c:v>
                </c:pt>
                <c:pt idx="2151">
                  <c:v>0</c:v>
                </c:pt>
                <c:pt idx="2152">
                  <c:v>0</c:v>
                </c:pt>
                <c:pt idx="2153">
                  <c:v>0</c:v>
                </c:pt>
                <c:pt idx="2154">
                  <c:v>0</c:v>
                </c:pt>
                <c:pt idx="2155">
                  <c:v>0</c:v>
                </c:pt>
                <c:pt idx="2156">
                  <c:v>0</c:v>
                </c:pt>
                <c:pt idx="2157">
                  <c:v>0</c:v>
                </c:pt>
                <c:pt idx="2158">
                  <c:v>0</c:v>
                </c:pt>
                <c:pt idx="2159">
                  <c:v>0</c:v>
                </c:pt>
                <c:pt idx="2160">
                  <c:v>0</c:v>
                </c:pt>
                <c:pt idx="2161">
                  <c:v>0</c:v>
                </c:pt>
                <c:pt idx="2162">
                  <c:v>0</c:v>
                </c:pt>
                <c:pt idx="2163">
                  <c:v>0</c:v>
                </c:pt>
                <c:pt idx="2164">
                  <c:v>0</c:v>
                </c:pt>
                <c:pt idx="2165">
                  <c:v>0</c:v>
                </c:pt>
                <c:pt idx="2166">
                  <c:v>0</c:v>
                </c:pt>
                <c:pt idx="2167">
                  <c:v>0</c:v>
                </c:pt>
                <c:pt idx="2168">
                  <c:v>0</c:v>
                </c:pt>
                <c:pt idx="2169">
                  <c:v>0</c:v>
                </c:pt>
                <c:pt idx="2170">
                  <c:v>0</c:v>
                </c:pt>
                <c:pt idx="2171">
                  <c:v>0</c:v>
                </c:pt>
                <c:pt idx="2172">
                  <c:v>0</c:v>
                </c:pt>
                <c:pt idx="2173">
                  <c:v>0</c:v>
                </c:pt>
                <c:pt idx="2174">
                  <c:v>0</c:v>
                </c:pt>
                <c:pt idx="2175">
                  <c:v>0</c:v>
                </c:pt>
                <c:pt idx="2176">
                  <c:v>0</c:v>
                </c:pt>
                <c:pt idx="2177">
                  <c:v>0</c:v>
                </c:pt>
                <c:pt idx="2178">
                  <c:v>0</c:v>
                </c:pt>
                <c:pt idx="2179">
                  <c:v>0</c:v>
                </c:pt>
                <c:pt idx="2180">
                  <c:v>0</c:v>
                </c:pt>
                <c:pt idx="2181">
                  <c:v>0</c:v>
                </c:pt>
                <c:pt idx="2182">
                  <c:v>0</c:v>
                </c:pt>
                <c:pt idx="2183">
                  <c:v>0</c:v>
                </c:pt>
                <c:pt idx="2184">
                  <c:v>0</c:v>
                </c:pt>
                <c:pt idx="2185">
                  <c:v>0</c:v>
                </c:pt>
                <c:pt idx="2186">
                  <c:v>0</c:v>
                </c:pt>
                <c:pt idx="2187">
                  <c:v>0</c:v>
                </c:pt>
                <c:pt idx="2188">
                  <c:v>0</c:v>
                </c:pt>
                <c:pt idx="2189">
                  <c:v>0</c:v>
                </c:pt>
                <c:pt idx="2190">
                  <c:v>0</c:v>
                </c:pt>
                <c:pt idx="2191">
                  <c:v>0</c:v>
                </c:pt>
                <c:pt idx="2192">
                  <c:v>0</c:v>
                </c:pt>
                <c:pt idx="2193">
                  <c:v>0</c:v>
                </c:pt>
                <c:pt idx="2194">
                  <c:v>0</c:v>
                </c:pt>
                <c:pt idx="2195">
                  <c:v>0</c:v>
                </c:pt>
                <c:pt idx="2196">
                  <c:v>0</c:v>
                </c:pt>
                <c:pt idx="2197">
                  <c:v>0</c:v>
                </c:pt>
                <c:pt idx="2198">
                  <c:v>0</c:v>
                </c:pt>
                <c:pt idx="2199">
                  <c:v>0</c:v>
                </c:pt>
                <c:pt idx="2200">
                  <c:v>0</c:v>
                </c:pt>
                <c:pt idx="2201">
                  <c:v>0</c:v>
                </c:pt>
                <c:pt idx="2202">
                  <c:v>0</c:v>
                </c:pt>
                <c:pt idx="2203">
                  <c:v>0</c:v>
                </c:pt>
                <c:pt idx="2204">
                  <c:v>0</c:v>
                </c:pt>
                <c:pt idx="2205">
                  <c:v>0</c:v>
                </c:pt>
                <c:pt idx="2206">
                  <c:v>0</c:v>
                </c:pt>
                <c:pt idx="2207">
                  <c:v>0</c:v>
                </c:pt>
                <c:pt idx="2208">
                  <c:v>0</c:v>
                </c:pt>
                <c:pt idx="2209">
                  <c:v>0</c:v>
                </c:pt>
                <c:pt idx="2210">
                  <c:v>0</c:v>
                </c:pt>
                <c:pt idx="2211">
                  <c:v>0</c:v>
                </c:pt>
                <c:pt idx="2212">
                  <c:v>0</c:v>
                </c:pt>
                <c:pt idx="2213">
                  <c:v>0</c:v>
                </c:pt>
                <c:pt idx="2214">
                  <c:v>0</c:v>
                </c:pt>
                <c:pt idx="2215">
                  <c:v>0</c:v>
                </c:pt>
                <c:pt idx="2216">
                  <c:v>0</c:v>
                </c:pt>
                <c:pt idx="2217">
                  <c:v>0</c:v>
                </c:pt>
                <c:pt idx="2218">
                  <c:v>0</c:v>
                </c:pt>
                <c:pt idx="2219">
                  <c:v>0</c:v>
                </c:pt>
                <c:pt idx="2220">
                  <c:v>0</c:v>
                </c:pt>
                <c:pt idx="2221">
                  <c:v>0</c:v>
                </c:pt>
                <c:pt idx="2222">
                  <c:v>0</c:v>
                </c:pt>
                <c:pt idx="2223">
                  <c:v>0</c:v>
                </c:pt>
                <c:pt idx="2224">
                  <c:v>0</c:v>
                </c:pt>
                <c:pt idx="2225">
                  <c:v>0</c:v>
                </c:pt>
                <c:pt idx="2226">
                  <c:v>0</c:v>
                </c:pt>
                <c:pt idx="2227">
                  <c:v>0</c:v>
                </c:pt>
                <c:pt idx="2228">
                  <c:v>0</c:v>
                </c:pt>
                <c:pt idx="2229">
                  <c:v>0</c:v>
                </c:pt>
                <c:pt idx="2230">
                  <c:v>0</c:v>
                </c:pt>
                <c:pt idx="2231">
                  <c:v>0</c:v>
                </c:pt>
                <c:pt idx="2232">
                  <c:v>0</c:v>
                </c:pt>
                <c:pt idx="2233">
                  <c:v>0</c:v>
                </c:pt>
                <c:pt idx="2234">
                  <c:v>0</c:v>
                </c:pt>
                <c:pt idx="2235">
                  <c:v>0</c:v>
                </c:pt>
                <c:pt idx="2236">
                  <c:v>0</c:v>
                </c:pt>
                <c:pt idx="2237">
                  <c:v>0</c:v>
                </c:pt>
                <c:pt idx="2238">
                  <c:v>0</c:v>
                </c:pt>
                <c:pt idx="2239">
                  <c:v>0</c:v>
                </c:pt>
                <c:pt idx="2240">
                  <c:v>0</c:v>
                </c:pt>
                <c:pt idx="2241">
                  <c:v>0</c:v>
                </c:pt>
                <c:pt idx="2242">
                  <c:v>0</c:v>
                </c:pt>
                <c:pt idx="2243">
                  <c:v>0</c:v>
                </c:pt>
                <c:pt idx="2244">
                  <c:v>0</c:v>
                </c:pt>
                <c:pt idx="2245">
                  <c:v>0</c:v>
                </c:pt>
                <c:pt idx="2246">
                  <c:v>0</c:v>
                </c:pt>
                <c:pt idx="2247">
                  <c:v>0</c:v>
                </c:pt>
                <c:pt idx="2248">
                  <c:v>0</c:v>
                </c:pt>
                <c:pt idx="2249">
                  <c:v>0</c:v>
                </c:pt>
                <c:pt idx="2250">
                  <c:v>0</c:v>
                </c:pt>
                <c:pt idx="2251">
                  <c:v>0</c:v>
                </c:pt>
                <c:pt idx="2252">
                  <c:v>0</c:v>
                </c:pt>
                <c:pt idx="2253">
                  <c:v>0</c:v>
                </c:pt>
                <c:pt idx="2254">
                  <c:v>0</c:v>
                </c:pt>
                <c:pt idx="2255">
                  <c:v>0</c:v>
                </c:pt>
                <c:pt idx="2256">
                  <c:v>0</c:v>
                </c:pt>
                <c:pt idx="2257">
                  <c:v>0</c:v>
                </c:pt>
                <c:pt idx="2258">
                  <c:v>0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0</c:v>
                </c:pt>
                <c:pt idx="2315">
                  <c:v>0</c:v>
                </c:pt>
                <c:pt idx="2316">
                  <c:v>0</c:v>
                </c:pt>
                <c:pt idx="2317">
                  <c:v>0</c:v>
                </c:pt>
                <c:pt idx="2318">
                  <c:v>0</c:v>
                </c:pt>
                <c:pt idx="2319">
                  <c:v>0</c:v>
                </c:pt>
                <c:pt idx="2320">
                  <c:v>0</c:v>
                </c:pt>
                <c:pt idx="2321">
                  <c:v>0</c:v>
                </c:pt>
                <c:pt idx="2322">
                  <c:v>0</c:v>
                </c:pt>
                <c:pt idx="2323">
                  <c:v>0</c:v>
                </c:pt>
                <c:pt idx="2324">
                  <c:v>0</c:v>
                </c:pt>
                <c:pt idx="2325">
                  <c:v>0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0</c:v>
                </c:pt>
                <c:pt idx="2337">
                  <c:v>0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0BE4-489A-B1C2-891A8AA1669B}"/>
            </c:ext>
          </c:extLst>
        </c:ser>
        <c:ser>
          <c:idx val="4"/>
          <c:order val="6"/>
          <c:tx>
            <c:v>UN R138 MAX SPL</c:v>
          </c:tx>
          <c:spPr>
            <a:ln w="3810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xVal>
            <c:numRef>
              <c:f>'MIN SAFETY'!$O$30:$O$32</c:f>
              <c:numCache>
                <c:formatCode>General</c:formatCode>
                <c:ptCount val="3"/>
                <c:pt idx="0" formatCode="0.0">
                  <c:v>0</c:v>
                </c:pt>
                <c:pt idx="1">
                  <c:v>10</c:v>
                </c:pt>
                <c:pt idx="2">
                  <c:v>20</c:v>
                </c:pt>
              </c:numCache>
            </c:numRef>
          </c:xVal>
          <c:yVal>
            <c:numRef>
              <c:f>'MIN SAFETY'!$P$30:$P$32</c:f>
              <c:numCache>
                <c:formatCode>General</c:formatCode>
                <c:ptCount val="3"/>
                <c:pt idx="0" formatCode="0.0">
                  <c:v>66</c:v>
                </c:pt>
                <c:pt idx="1">
                  <c:v>66</c:v>
                </c:pt>
                <c:pt idx="2">
                  <c:v>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BE4-489A-B1C2-891A8AA166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6408816"/>
        <c:axId val="43641214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1"/>
                <c:tx>
                  <c:v>CRUISE</c:v>
                </c:tx>
                <c:spPr>
                  <a:ln w="25400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MIN SAFETY'!$C$7:$C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39.07715318164081</c:v>
                      </c:pt>
                      <c:pt idx="1">
                        <c:v>42.312824452710153</c:v>
                      </c:pt>
                      <c:pt idx="2">
                        <c:v>45.639636681975475</c:v>
                      </c:pt>
                      <c:pt idx="3">
                        <c:v>48.303469669506498</c:v>
                      </c:pt>
                      <c:pt idx="4">
                        <c:v>50.512609621468975</c:v>
                      </c:pt>
                      <c:pt idx="5">
                        <c:v>52.402250882171316</c:v>
                      </c:pt>
                      <c:pt idx="6">
                        <c:v>54.056932193540817</c:v>
                      </c:pt>
                      <c:pt idx="7">
                        <c:v>55.531714350332848</c:v>
                      </c:pt>
                      <c:pt idx="8">
                        <c:v>56.864169126186987</c:v>
                      </c:pt>
                      <c:pt idx="9">
                        <c:v>58.081015864890716</c:v>
                      </c:pt>
                      <c:pt idx="10">
                        <c:v>59.201930734866266</c:v>
                      </c:pt>
                      <c:pt idx="11">
                        <c:v>60.24183285088629</c:v>
                      </c:pt>
                      <c:pt idx="12">
                        <c:v>61.212315642826155</c:v>
                      </c:pt>
                      <c:pt idx="13">
                        <c:v>62.122577611321503</c:v>
                      </c:pt>
                      <c:pt idx="14">
                        <c:v>62.980047996840668</c:v>
                      </c:pt>
                      <c:pt idx="15">
                        <c:v>63.790819766503489</c:v>
                      </c:pt>
                      <c:pt idx="16">
                        <c:v>64.559956990352845</c:v>
                      </c:pt>
                      <c:pt idx="17">
                        <c:v>65.291717997536821</c:v>
                      </c:pt>
                      <c:pt idx="18">
                        <c:v>65.989720636628675</c:v>
                      </c:pt>
                      <c:pt idx="19">
                        <c:v>66.65706684062375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0BE4-489A-B1C2-891A8AA1669B}"/>
                  </c:ext>
                </c:extLst>
              </c15:ser>
            </c15:filteredScatterSeries>
            <c15:filteredScatterSeries>
              <c15:ser>
                <c:idx val="9"/>
                <c:order val="2"/>
                <c:tx>
                  <c:v>ACC 5.0 m/s²</c:v>
                </c:tx>
                <c:spPr>
                  <a:ln w="2540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7:$M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3.419243045860078</c:v>
                      </c:pt>
                      <c:pt idx="1">
                        <c:v>54.666026131391135</c:v>
                      </c:pt>
                      <c:pt idx="2">
                        <c:v>56.080086462829186</c:v>
                      </c:pt>
                      <c:pt idx="3">
                        <c:v>57.363550882214952</c:v>
                      </c:pt>
                      <c:pt idx="4">
                        <c:v>58.53996996273419</c:v>
                      </c:pt>
                      <c:pt idx="5">
                        <c:v>59.626901169764963</c:v>
                      </c:pt>
                      <c:pt idx="6">
                        <c:v>60.637795358209623</c:v>
                      </c:pt>
                      <c:pt idx="7">
                        <c:v>61.583196627979873</c:v>
                      </c:pt>
                      <c:pt idx="8">
                        <c:v>62.471533393842613</c:v>
                      </c:pt>
                      <c:pt idx="9">
                        <c:v>63.309656623959199</c:v>
                      </c:pt>
                      <c:pt idx="10">
                        <c:v>64.103216287046052</c:v>
                      </c:pt>
                      <c:pt idx="11">
                        <c:v>64.85693109127601</c:v>
                      </c:pt>
                      <c:pt idx="12">
                        <c:v>65.574785933347613</c:v>
                      </c:pt>
                      <c:pt idx="13">
                        <c:v>66.260179193427831</c:v>
                      </c:pt>
                      <c:pt idx="14">
                        <c:v>66.916034485179637</c:v>
                      </c:pt>
                      <c:pt idx="15">
                        <c:v>67.544886729380977</c:v>
                      </c:pt>
                      <c:pt idx="16">
                        <c:v>68.148949358401765</c:v>
                      </c:pt>
                      <c:pt idx="17">
                        <c:v>68.730167436997988</c:v>
                      </c:pt>
                      <c:pt idx="18">
                        <c:v>69.290260121947313</c:v>
                      </c:pt>
                      <c:pt idx="19">
                        <c:v>69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0BE4-489A-B1C2-891A8AA1669B}"/>
                  </c:ext>
                </c:extLst>
              </c15:ser>
            </c15:filteredScatterSeries>
            <c15:filteredScatterSeries>
              <c15:ser>
                <c:idx val="1"/>
                <c:order val="3"/>
                <c:tx>
                  <c:v>CRUISE incl Margin</c:v>
                </c:tx>
                <c:spPr>
                  <a:ln w="25400" cap="rnd">
                    <a:solidFill>
                      <a:srgbClr val="00B050"/>
                    </a:solidFill>
                    <a:prstDash val="solid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C$33:$C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45.07715318164081</c:v>
                      </c:pt>
                      <c:pt idx="1">
                        <c:v>48.312824452710153</c:v>
                      </c:pt>
                      <c:pt idx="2">
                        <c:v>51.639636681975475</c:v>
                      </c:pt>
                      <c:pt idx="3">
                        <c:v>54.303469669506498</c:v>
                      </c:pt>
                      <c:pt idx="4">
                        <c:v>56.512609621468975</c:v>
                      </c:pt>
                      <c:pt idx="5">
                        <c:v>58.402250882171316</c:v>
                      </c:pt>
                      <c:pt idx="6">
                        <c:v>60.056932193540817</c:v>
                      </c:pt>
                      <c:pt idx="7">
                        <c:v>61.531714350332848</c:v>
                      </c:pt>
                      <c:pt idx="8">
                        <c:v>62.864169126186987</c:v>
                      </c:pt>
                      <c:pt idx="9">
                        <c:v>64.081015864890716</c:v>
                      </c:pt>
                      <c:pt idx="10">
                        <c:v>65.201930734866266</c:v>
                      </c:pt>
                      <c:pt idx="11">
                        <c:v>66.241832850886283</c:v>
                      </c:pt>
                      <c:pt idx="12">
                        <c:v>67.212315642826155</c:v>
                      </c:pt>
                      <c:pt idx="13">
                        <c:v>68.122577611321503</c:v>
                      </c:pt>
                      <c:pt idx="14">
                        <c:v>68.980047996840668</c:v>
                      </c:pt>
                      <c:pt idx="15">
                        <c:v>69.790819766503489</c:v>
                      </c:pt>
                      <c:pt idx="16">
                        <c:v>70.559956990352845</c:v>
                      </c:pt>
                      <c:pt idx="17">
                        <c:v>71.291717997536821</c:v>
                      </c:pt>
                      <c:pt idx="18">
                        <c:v>71.989720636628675</c:v>
                      </c:pt>
                      <c:pt idx="19">
                        <c:v>72.65706684062375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0BE4-489A-B1C2-891A8AA1669B}"/>
                  </c:ext>
                </c:extLst>
              </c15:ser>
            </c15:filteredScatterSeries>
            <c15:filteredScatterSeries>
              <c15:ser>
                <c:idx val="2"/>
                <c:order val="4"/>
                <c:tx>
                  <c:v>ACC 5.0 m/s² incl Margin</c:v>
                </c:tx>
                <c:spPr>
                  <a:ln w="25400" cap="rnd">
                    <a:solidFill>
                      <a:srgbClr val="00B05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33:$M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9.419243045860078</c:v>
                      </c:pt>
                      <c:pt idx="1">
                        <c:v>60.666026131391135</c:v>
                      </c:pt>
                      <c:pt idx="2">
                        <c:v>62.080086462829186</c:v>
                      </c:pt>
                      <c:pt idx="3">
                        <c:v>63.363550882214952</c:v>
                      </c:pt>
                      <c:pt idx="4">
                        <c:v>64.53996996273419</c:v>
                      </c:pt>
                      <c:pt idx="5">
                        <c:v>65.626901169764963</c:v>
                      </c:pt>
                      <c:pt idx="6">
                        <c:v>66.637795358209615</c:v>
                      </c:pt>
                      <c:pt idx="7">
                        <c:v>67.583196627979873</c:v>
                      </c:pt>
                      <c:pt idx="8">
                        <c:v>68.471533393842606</c:v>
                      </c:pt>
                      <c:pt idx="9">
                        <c:v>69.309656623959199</c:v>
                      </c:pt>
                      <c:pt idx="10">
                        <c:v>70.103216287046052</c:v>
                      </c:pt>
                      <c:pt idx="11">
                        <c:v>70.85693109127601</c:v>
                      </c:pt>
                      <c:pt idx="12">
                        <c:v>71.574785933347613</c:v>
                      </c:pt>
                      <c:pt idx="13">
                        <c:v>72.260179193427831</c:v>
                      </c:pt>
                      <c:pt idx="14">
                        <c:v>72.916034485179637</c:v>
                      </c:pt>
                      <c:pt idx="15">
                        <c:v>73.544886729380977</c:v>
                      </c:pt>
                      <c:pt idx="16">
                        <c:v>74.148949358401765</c:v>
                      </c:pt>
                      <c:pt idx="17">
                        <c:v>74.730167436997988</c:v>
                      </c:pt>
                      <c:pt idx="18">
                        <c:v>75.290260121947313</c:v>
                      </c:pt>
                      <c:pt idx="19">
                        <c:v>75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0BE4-489A-B1C2-891A8AA1669B}"/>
                  </c:ext>
                </c:extLst>
              </c15:ser>
            </c15:filteredScatterSeries>
            <c15:filteredScatterSeries>
              <c15:ser>
                <c:idx val="6"/>
                <c:order val="5"/>
                <c:tx>
                  <c:v>Draft UN R138.02 Max Sound</c:v>
                </c:tx>
                <c:spPr>
                  <a:ln w="31750" cap="rnd">
                    <a:solidFill>
                      <a:srgbClr val="00B0F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G$13:$AG$2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</c:v>
                      </c:pt>
                      <c:pt idx="1">
                        <c:v>10</c:v>
                      </c:pt>
                      <c:pt idx="2">
                        <c:v>20</c:v>
                      </c:pt>
                      <c:pt idx="3">
                        <c:v>30</c:v>
                      </c:pt>
                      <c:pt idx="4">
                        <c:v>32</c:v>
                      </c:pt>
                      <c:pt idx="5">
                        <c:v>40</c:v>
                      </c:pt>
                      <c:pt idx="6">
                        <c:v>50</c:v>
                      </c:pt>
                      <c:pt idx="7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H$13:$AH$2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66</c:v>
                      </c:pt>
                      <c:pt idx="1">
                        <c:v>66</c:v>
                      </c:pt>
                      <c:pt idx="2">
                        <c:v>66</c:v>
                      </c:pt>
                      <c:pt idx="3">
                        <c:v>66</c:v>
                      </c:pt>
                      <c:pt idx="4">
                        <c:v>66</c:v>
                      </c:pt>
                      <c:pt idx="5">
                        <c:v>57.56</c:v>
                      </c:pt>
                      <c:pt idx="6">
                        <c:v>47</c:v>
                      </c:pt>
                      <c:pt idx="7">
                        <c:v>0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0BE4-489A-B1C2-891A8AA1669B}"/>
                  </c:ext>
                </c:extLst>
              </c15:ser>
            </c15:filteredScatterSeries>
          </c:ext>
        </c:extLst>
      </c:scatterChart>
      <c:valAx>
        <c:axId val="436408816"/>
        <c:scaling>
          <c:orientation val="minMax"/>
          <c:max val="1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Vehicle Speed [km/h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12144"/>
        <c:crosses val="autoZero"/>
        <c:crossBetween val="midCat"/>
      </c:valAx>
      <c:valAx>
        <c:axId val="436412144"/>
        <c:scaling>
          <c:orientation val="minMax"/>
          <c:max val="110"/>
          <c:min val="4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Sound Pressure Level [dB(A)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0881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8068920335429767E-2"/>
          <c:y val="0.10240178571428571"/>
          <c:w val="0.89658144841269838"/>
          <c:h val="0.79557794796631254"/>
        </c:manualLayout>
      </c:layout>
      <c:scatterChart>
        <c:scatterStyle val="lineMarker"/>
        <c:varyColors val="0"/>
        <c:ser>
          <c:idx val="1"/>
          <c:order val="2"/>
          <c:tx>
            <c:v>CRUISE incl Margin</c:v>
          </c:tx>
          <c:spPr>
            <a:ln w="38100" cap="rnd">
              <a:solidFill>
                <a:srgbClr val="00B050"/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'MIN SAFETY'!$B$33:$B$52</c:f>
              <c:numCache>
                <c:formatCode>General</c:formatCode>
                <c:ptCount val="20"/>
                <c:pt idx="0">
                  <c:v>6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  <c:pt idx="14">
                  <c:v>75</c:v>
                </c:pt>
                <c:pt idx="15">
                  <c:v>80</c:v>
                </c:pt>
                <c:pt idx="16">
                  <c:v>85</c:v>
                </c:pt>
                <c:pt idx="17">
                  <c:v>90</c:v>
                </c:pt>
                <c:pt idx="18">
                  <c:v>95</c:v>
                </c:pt>
                <c:pt idx="19">
                  <c:v>100</c:v>
                </c:pt>
              </c:numCache>
            </c:numRef>
          </c:xVal>
          <c:yVal>
            <c:numRef>
              <c:f>'MIN SAFETY'!$C$33:$C$52</c:f>
              <c:numCache>
                <c:formatCode>0.0</c:formatCode>
                <c:ptCount val="20"/>
                <c:pt idx="0">
                  <c:v>45.07715318164081</c:v>
                </c:pt>
                <c:pt idx="1">
                  <c:v>48.312824452710153</c:v>
                </c:pt>
                <c:pt idx="2">
                  <c:v>51.639636681975475</c:v>
                </c:pt>
                <c:pt idx="3">
                  <c:v>54.303469669506498</c:v>
                </c:pt>
                <c:pt idx="4">
                  <c:v>56.512609621468975</c:v>
                </c:pt>
                <c:pt idx="5">
                  <c:v>58.402250882171316</c:v>
                </c:pt>
                <c:pt idx="6">
                  <c:v>60.056932193540817</c:v>
                </c:pt>
                <c:pt idx="7">
                  <c:v>61.531714350332848</c:v>
                </c:pt>
                <c:pt idx="8">
                  <c:v>62.864169126186987</c:v>
                </c:pt>
                <c:pt idx="9">
                  <c:v>64.081015864890716</c:v>
                </c:pt>
                <c:pt idx="10">
                  <c:v>65.201930734866266</c:v>
                </c:pt>
                <c:pt idx="11">
                  <c:v>66.241832850886283</c:v>
                </c:pt>
                <c:pt idx="12">
                  <c:v>67.212315642826155</c:v>
                </c:pt>
                <c:pt idx="13">
                  <c:v>68.122577611321503</c:v>
                </c:pt>
                <c:pt idx="14">
                  <c:v>68.980047996840668</c:v>
                </c:pt>
                <c:pt idx="15">
                  <c:v>69.790819766503489</c:v>
                </c:pt>
                <c:pt idx="16">
                  <c:v>70.559956990352845</c:v>
                </c:pt>
                <c:pt idx="17">
                  <c:v>71.291717997536821</c:v>
                </c:pt>
                <c:pt idx="18">
                  <c:v>71.989720636628675</c:v>
                </c:pt>
                <c:pt idx="19">
                  <c:v>72.6570668406237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1CC-402B-B72B-0EDDBCBA8F50}"/>
            </c:ext>
          </c:extLst>
        </c:ser>
        <c:ser>
          <c:idx val="2"/>
          <c:order val="3"/>
          <c:tx>
            <c:v>ACC 5.0 m/s² incl Margin</c:v>
          </c:tx>
          <c:spPr>
            <a:ln w="38100" cap="rnd">
              <a:solidFill>
                <a:srgbClr val="00B050"/>
              </a:solidFill>
              <a:prstDash val="sysDot"/>
              <a:round/>
            </a:ln>
            <a:effectLst/>
          </c:spPr>
          <c:marker>
            <c:symbol val="none"/>
          </c:marker>
          <c:xVal>
            <c:numRef>
              <c:f>'MIN SAFETY'!$B$33:$B$52</c:f>
              <c:numCache>
                <c:formatCode>General</c:formatCode>
                <c:ptCount val="20"/>
                <c:pt idx="0">
                  <c:v>6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  <c:pt idx="14">
                  <c:v>75</c:v>
                </c:pt>
                <c:pt idx="15">
                  <c:v>80</c:v>
                </c:pt>
                <c:pt idx="16">
                  <c:v>85</c:v>
                </c:pt>
                <c:pt idx="17">
                  <c:v>90</c:v>
                </c:pt>
                <c:pt idx="18">
                  <c:v>95</c:v>
                </c:pt>
                <c:pt idx="19">
                  <c:v>100</c:v>
                </c:pt>
              </c:numCache>
            </c:numRef>
          </c:xVal>
          <c:yVal>
            <c:numRef>
              <c:f>'MIN SAFETY'!$M$33:$M$52</c:f>
              <c:numCache>
                <c:formatCode>0.0</c:formatCode>
                <c:ptCount val="20"/>
                <c:pt idx="0">
                  <c:v>59.419243045860078</c:v>
                </c:pt>
                <c:pt idx="1">
                  <c:v>60.666026131391135</c:v>
                </c:pt>
                <c:pt idx="2">
                  <c:v>62.080086462829186</c:v>
                </c:pt>
                <c:pt idx="3">
                  <c:v>63.363550882214952</c:v>
                </c:pt>
                <c:pt idx="4">
                  <c:v>64.53996996273419</c:v>
                </c:pt>
                <c:pt idx="5">
                  <c:v>65.626901169764963</c:v>
                </c:pt>
                <c:pt idx="6">
                  <c:v>66.637795358209615</c:v>
                </c:pt>
                <c:pt idx="7">
                  <c:v>67.583196627979873</c:v>
                </c:pt>
                <c:pt idx="8">
                  <c:v>68.471533393842606</c:v>
                </c:pt>
                <c:pt idx="9">
                  <c:v>69.309656623959199</c:v>
                </c:pt>
                <c:pt idx="10">
                  <c:v>70.103216287046052</c:v>
                </c:pt>
                <c:pt idx="11">
                  <c:v>70.85693109127601</c:v>
                </c:pt>
                <c:pt idx="12">
                  <c:v>71.574785933347613</c:v>
                </c:pt>
                <c:pt idx="13">
                  <c:v>72.260179193427831</c:v>
                </c:pt>
                <c:pt idx="14">
                  <c:v>72.916034485179637</c:v>
                </c:pt>
                <c:pt idx="15">
                  <c:v>73.544886729380977</c:v>
                </c:pt>
                <c:pt idx="16">
                  <c:v>74.148949358401765</c:v>
                </c:pt>
                <c:pt idx="17">
                  <c:v>74.730167436997988</c:v>
                </c:pt>
                <c:pt idx="18">
                  <c:v>75.290260121947313</c:v>
                </c:pt>
                <c:pt idx="19">
                  <c:v>75.8307549469662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1CC-402B-B72B-0EDDBCBA8F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6408816"/>
        <c:axId val="43641214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v>CRUISE</c:v>
                </c:tx>
                <c:spPr>
                  <a:ln w="25400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MIN SAFETY'!$C$7:$C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39.07715318164081</c:v>
                      </c:pt>
                      <c:pt idx="1">
                        <c:v>42.312824452710153</c:v>
                      </c:pt>
                      <c:pt idx="2">
                        <c:v>45.639636681975475</c:v>
                      </c:pt>
                      <c:pt idx="3">
                        <c:v>48.303469669506498</c:v>
                      </c:pt>
                      <c:pt idx="4">
                        <c:v>50.512609621468975</c:v>
                      </c:pt>
                      <c:pt idx="5">
                        <c:v>52.402250882171316</c:v>
                      </c:pt>
                      <c:pt idx="6">
                        <c:v>54.056932193540817</c:v>
                      </c:pt>
                      <c:pt idx="7">
                        <c:v>55.531714350332848</c:v>
                      </c:pt>
                      <c:pt idx="8">
                        <c:v>56.864169126186987</c:v>
                      </c:pt>
                      <c:pt idx="9">
                        <c:v>58.081015864890716</c:v>
                      </c:pt>
                      <c:pt idx="10">
                        <c:v>59.201930734866266</c:v>
                      </c:pt>
                      <c:pt idx="11">
                        <c:v>60.24183285088629</c:v>
                      </c:pt>
                      <c:pt idx="12">
                        <c:v>61.212315642826155</c:v>
                      </c:pt>
                      <c:pt idx="13">
                        <c:v>62.122577611321503</c:v>
                      </c:pt>
                      <c:pt idx="14">
                        <c:v>62.980047996840668</c:v>
                      </c:pt>
                      <c:pt idx="15">
                        <c:v>63.790819766503489</c:v>
                      </c:pt>
                      <c:pt idx="16">
                        <c:v>64.559956990352845</c:v>
                      </c:pt>
                      <c:pt idx="17">
                        <c:v>65.291717997536821</c:v>
                      </c:pt>
                      <c:pt idx="18">
                        <c:v>65.989720636628675</c:v>
                      </c:pt>
                      <c:pt idx="19">
                        <c:v>66.65706684062375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B1CC-402B-B72B-0EDDBCBA8F50}"/>
                  </c:ext>
                </c:extLst>
              </c15:ser>
            </c15:filteredScatterSeries>
            <c15:filteredScatterSeries>
              <c15:ser>
                <c:idx val="9"/>
                <c:order val="1"/>
                <c:tx>
                  <c:v>ACC 5.0 m/s²</c:v>
                </c:tx>
                <c:spPr>
                  <a:ln w="2540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7:$M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3.419243045860078</c:v>
                      </c:pt>
                      <c:pt idx="1">
                        <c:v>54.666026131391135</c:v>
                      </c:pt>
                      <c:pt idx="2">
                        <c:v>56.080086462829186</c:v>
                      </c:pt>
                      <c:pt idx="3">
                        <c:v>57.363550882214952</c:v>
                      </c:pt>
                      <c:pt idx="4">
                        <c:v>58.53996996273419</c:v>
                      </c:pt>
                      <c:pt idx="5">
                        <c:v>59.626901169764963</c:v>
                      </c:pt>
                      <c:pt idx="6">
                        <c:v>60.637795358209623</c:v>
                      </c:pt>
                      <c:pt idx="7">
                        <c:v>61.583196627979873</c:v>
                      </c:pt>
                      <c:pt idx="8">
                        <c:v>62.471533393842613</c:v>
                      </c:pt>
                      <c:pt idx="9">
                        <c:v>63.309656623959199</c:v>
                      </c:pt>
                      <c:pt idx="10">
                        <c:v>64.103216287046052</c:v>
                      </c:pt>
                      <c:pt idx="11">
                        <c:v>64.85693109127601</c:v>
                      </c:pt>
                      <c:pt idx="12">
                        <c:v>65.574785933347613</c:v>
                      </c:pt>
                      <c:pt idx="13">
                        <c:v>66.260179193427831</c:v>
                      </c:pt>
                      <c:pt idx="14">
                        <c:v>66.916034485179637</c:v>
                      </c:pt>
                      <c:pt idx="15">
                        <c:v>67.544886729380977</c:v>
                      </c:pt>
                      <c:pt idx="16">
                        <c:v>68.148949358401765</c:v>
                      </c:pt>
                      <c:pt idx="17">
                        <c:v>68.730167436997988</c:v>
                      </c:pt>
                      <c:pt idx="18">
                        <c:v>69.290260121947313</c:v>
                      </c:pt>
                      <c:pt idx="19">
                        <c:v>69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B1CC-402B-B72B-0EDDBCBA8F50}"/>
                  </c:ext>
                </c:extLst>
              </c15:ser>
            </c15:filteredScatterSeries>
            <c15:filteredScatterSeries>
              <c15:ser>
                <c:idx val="3"/>
                <c:order val="4"/>
                <c:tx>
                  <c:v>ASEP BORDER</c:v>
                </c:tx>
                <c:spPr>
                  <a:ln w="3175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10:$Z$16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50</c:v>
                      </c:pt>
                      <c:pt idx="1">
                        <c:v>54.33</c:v>
                      </c:pt>
                      <c:pt idx="2">
                        <c:v>60</c:v>
                      </c:pt>
                      <c:pt idx="3">
                        <c:v>65</c:v>
                      </c:pt>
                      <c:pt idx="4">
                        <c:v>70</c:v>
                      </c:pt>
                      <c:pt idx="5">
                        <c:v>75</c:v>
                      </c:pt>
                      <c:pt idx="6">
                        <c:v>8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10:$AC$16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72.475000000000009</c:v>
                      </c:pt>
                      <c:pt idx="1">
                        <c:v>73.2</c:v>
                      </c:pt>
                      <c:pt idx="2">
                        <c:v>74.522999999999996</c:v>
                      </c:pt>
                      <c:pt idx="3">
                        <c:v>75.685000000000002</c:v>
                      </c:pt>
                      <c:pt idx="4">
                        <c:v>76.853999999999999</c:v>
                      </c:pt>
                      <c:pt idx="5">
                        <c:v>78.022999999999996</c:v>
                      </c:pt>
                      <c:pt idx="6">
                        <c:v>79.185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B1CC-402B-B72B-0EDDBCBA8F50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v>ASEP BORDER &lt; 50 km/h</c:v>
                </c:tx>
                <c:spPr>
                  <a:ln w="28575" cap="rnd">
                    <a:solidFill>
                      <a:schemeClr val="tx1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4:$Z$10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</c:v>
                      </c:pt>
                      <c:pt idx="1">
                        <c:v>25</c:v>
                      </c:pt>
                      <c:pt idx="2">
                        <c:v>30</c:v>
                      </c:pt>
                      <c:pt idx="3">
                        <c:v>35</c:v>
                      </c:pt>
                      <c:pt idx="4">
                        <c:v>40</c:v>
                      </c:pt>
                      <c:pt idx="5">
                        <c:v>45</c:v>
                      </c:pt>
                      <c:pt idx="6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4:$AC$10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67.475000000000009</c:v>
                      </c:pt>
                      <c:pt idx="1">
                        <c:v>68.31</c:v>
                      </c:pt>
                      <c:pt idx="2">
                        <c:v>69.14500000000001</c:v>
                      </c:pt>
                      <c:pt idx="3">
                        <c:v>69.975000000000009</c:v>
                      </c:pt>
                      <c:pt idx="4">
                        <c:v>70.81</c:v>
                      </c:pt>
                      <c:pt idx="5">
                        <c:v>71.644999999999996</c:v>
                      </c:pt>
                      <c:pt idx="6">
                        <c:v>72.4750000000000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B1CC-402B-B72B-0EDDBCBA8F50}"/>
                  </c:ext>
                </c:extLst>
              </c15:ser>
            </c15:filteredScatterSeries>
          </c:ext>
        </c:extLst>
      </c:scatterChart>
      <c:valAx>
        <c:axId val="436408816"/>
        <c:scaling>
          <c:orientation val="minMax"/>
          <c:max val="100"/>
        </c:scaling>
        <c:delete val="0"/>
        <c:axPos val="b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12144"/>
        <c:crosses val="autoZero"/>
        <c:crossBetween val="midCat"/>
      </c:valAx>
      <c:valAx>
        <c:axId val="436412144"/>
        <c:scaling>
          <c:orientation val="minMax"/>
          <c:max val="110"/>
          <c:min val="4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0881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6537080712788261E-2"/>
          <c:y val="0.30354662698412699"/>
          <c:w val="0.26604503968253967"/>
          <c:h val="0.12860039682539681"/>
        </c:manualLayout>
      </c:layout>
      <c:overlay val="0"/>
      <c:spPr>
        <a:solidFill>
          <a:schemeClr val="bg1">
            <a:lumMod val="95000"/>
          </a:schemeClr>
        </a:solidFill>
        <a:ln>
          <a:solidFill>
            <a:schemeClr val="bg1">
              <a:lumMod val="75000"/>
            </a:schemeClr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8068920335429767E-2"/>
          <c:y val="0.10240178571428571"/>
          <c:w val="0.89658144841269838"/>
          <c:h val="0.79557794796631254"/>
        </c:manualLayout>
      </c:layout>
      <c:scatterChart>
        <c:scatterStyle val="lineMarker"/>
        <c:varyColors val="0"/>
        <c:ser>
          <c:idx val="1"/>
          <c:order val="2"/>
          <c:tx>
            <c:v>CRUISE incl Margin</c:v>
          </c:tx>
          <c:spPr>
            <a:ln w="38100" cap="rnd">
              <a:solidFill>
                <a:srgbClr val="00B050"/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'MIN SAFETY'!$B$33:$B$52</c:f>
              <c:numCache>
                <c:formatCode>General</c:formatCode>
                <c:ptCount val="20"/>
                <c:pt idx="0">
                  <c:v>6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  <c:pt idx="14">
                  <c:v>75</c:v>
                </c:pt>
                <c:pt idx="15">
                  <c:v>80</c:v>
                </c:pt>
                <c:pt idx="16">
                  <c:v>85</c:v>
                </c:pt>
                <c:pt idx="17">
                  <c:v>90</c:v>
                </c:pt>
                <c:pt idx="18">
                  <c:v>95</c:v>
                </c:pt>
                <c:pt idx="19">
                  <c:v>100</c:v>
                </c:pt>
              </c:numCache>
            </c:numRef>
          </c:xVal>
          <c:yVal>
            <c:numRef>
              <c:f>'MIN SAFETY'!$C$33:$C$52</c:f>
              <c:numCache>
                <c:formatCode>0.0</c:formatCode>
                <c:ptCount val="20"/>
                <c:pt idx="0">
                  <c:v>45.07715318164081</c:v>
                </c:pt>
                <c:pt idx="1">
                  <c:v>48.312824452710153</c:v>
                </c:pt>
                <c:pt idx="2">
                  <c:v>51.639636681975475</c:v>
                </c:pt>
                <c:pt idx="3">
                  <c:v>54.303469669506498</c:v>
                </c:pt>
                <c:pt idx="4">
                  <c:v>56.512609621468975</c:v>
                </c:pt>
                <c:pt idx="5">
                  <c:v>58.402250882171316</c:v>
                </c:pt>
                <c:pt idx="6">
                  <c:v>60.056932193540817</c:v>
                </c:pt>
                <c:pt idx="7">
                  <c:v>61.531714350332848</c:v>
                </c:pt>
                <c:pt idx="8">
                  <c:v>62.864169126186987</c:v>
                </c:pt>
                <c:pt idx="9">
                  <c:v>64.081015864890716</c:v>
                </c:pt>
                <c:pt idx="10">
                  <c:v>65.201930734866266</c:v>
                </c:pt>
                <c:pt idx="11">
                  <c:v>66.241832850886283</c:v>
                </c:pt>
                <c:pt idx="12">
                  <c:v>67.212315642826155</c:v>
                </c:pt>
                <c:pt idx="13">
                  <c:v>68.122577611321503</c:v>
                </c:pt>
                <c:pt idx="14">
                  <c:v>68.980047996840668</c:v>
                </c:pt>
                <c:pt idx="15">
                  <c:v>69.790819766503489</c:v>
                </c:pt>
                <c:pt idx="16">
                  <c:v>70.559956990352845</c:v>
                </c:pt>
                <c:pt idx="17">
                  <c:v>71.291717997536821</c:v>
                </c:pt>
                <c:pt idx="18">
                  <c:v>71.989720636628675</c:v>
                </c:pt>
                <c:pt idx="19">
                  <c:v>72.6570668406237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D7F-4CE3-AE4C-35C478356567}"/>
            </c:ext>
          </c:extLst>
        </c:ser>
        <c:ser>
          <c:idx val="2"/>
          <c:order val="3"/>
          <c:tx>
            <c:v>ACC 5.0 m/s² incl Margin</c:v>
          </c:tx>
          <c:spPr>
            <a:ln w="38100" cap="rnd">
              <a:solidFill>
                <a:srgbClr val="00B050"/>
              </a:solidFill>
              <a:prstDash val="sysDot"/>
              <a:round/>
            </a:ln>
            <a:effectLst/>
          </c:spPr>
          <c:marker>
            <c:symbol val="none"/>
          </c:marker>
          <c:xVal>
            <c:numRef>
              <c:f>'MIN SAFETY'!$B$33:$B$52</c:f>
              <c:numCache>
                <c:formatCode>General</c:formatCode>
                <c:ptCount val="20"/>
                <c:pt idx="0">
                  <c:v>6</c:v>
                </c:pt>
                <c:pt idx="1">
                  <c:v>10</c:v>
                </c:pt>
                <c:pt idx="2">
                  <c:v>15</c:v>
                </c:pt>
                <c:pt idx="3">
                  <c:v>20</c:v>
                </c:pt>
                <c:pt idx="4">
                  <c:v>25</c:v>
                </c:pt>
                <c:pt idx="5">
                  <c:v>30</c:v>
                </c:pt>
                <c:pt idx="6">
                  <c:v>35</c:v>
                </c:pt>
                <c:pt idx="7">
                  <c:v>40</c:v>
                </c:pt>
                <c:pt idx="8">
                  <c:v>45</c:v>
                </c:pt>
                <c:pt idx="9">
                  <c:v>50</c:v>
                </c:pt>
                <c:pt idx="10">
                  <c:v>55</c:v>
                </c:pt>
                <c:pt idx="11">
                  <c:v>60</c:v>
                </c:pt>
                <c:pt idx="12">
                  <c:v>65</c:v>
                </c:pt>
                <c:pt idx="13">
                  <c:v>70</c:v>
                </c:pt>
                <c:pt idx="14">
                  <c:v>75</c:v>
                </c:pt>
                <c:pt idx="15">
                  <c:v>80</c:v>
                </c:pt>
                <c:pt idx="16">
                  <c:v>85</c:v>
                </c:pt>
                <c:pt idx="17">
                  <c:v>90</c:v>
                </c:pt>
                <c:pt idx="18">
                  <c:v>95</c:v>
                </c:pt>
                <c:pt idx="19">
                  <c:v>100</c:v>
                </c:pt>
              </c:numCache>
            </c:numRef>
          </c:xVal>
          <c:yVal>
            <c:numRef>
              <c:f>'MIN SAFETY'!$M$33:$M$52</c:f>
              <c:numCache>
                <c:formatCode>0.0</c:formatCode>
                <c:ptCount val="20"/>
                <c:pt idx="0">
                  <c:v>59.419243045860078</c:v>
                </c:pt>
                <c:pt idx="1">
                  <c:v>60.666026131391135</c:v>
                </c:pt>
                <c:pt idx="2">
                  <c:v>62.080086462829186</c:v>
                </c:pt>
                <c:pt idx="3">
                  <c:v>63.363550882214952</c:v>
                </c:pt>
                <c:pt idx="4">
                  <c:v>64.53996996273419</c:v>
                </c:pt>
                <c:pt idx="5">
                  <c:v>65.626901169764963</c:v>
                </c:pt>
                <c:pt idx="6">
                  <c:v>66.637795358209615</c:v>
                </c:pt>
                <c:pt idx="7">
                  <c:v>67.583196627979873</c:v>
                </c:pt>
                <c:pt idx="8">
                  <c:v>68.471533393842606</c:v>
                </c:pt>
                <c:pt idx="9">
                  <c:v>69.309656623959199</c:v>
                </c:pt>
                <c:pt idx="10">
                  <c:v>70.103216287046052</c:v>
                </c:pt>
                <c:pt idx="11">
                  <c:v>70.85693109127601</c:v>
                </c:pt>
                <c:pt idx="12">
                  <c:v>71.574785933347613</c:v>
                </c:pt>
                <c:pt idx="13">
                  <c:v>72.260179193427831</c:v>
                </c:pt>
                <c:pt idx="14">
                  <c:v>72.916034485179637</c:v>
                </c:pt>
                <c:pt idx="15">
                  <c:v>73.544886729380977</c:v>
                </c:pt>
                <c:pt idx="16">
                  <c:v>74.148949358401765</c:v>
                </c:pt>
                <c:pt idx="17">
                  <c:v>74.730167436997988</c:v>
                </c:pt>
                <c:pt idx="18">
                  <c:v>75.290260121947313</c:v>
                </c:pt>
                <c:pt idx="19">
                  <c:v>75.8307549469662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D7F-4CE3-AE4C-35C4783565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6408816"/>
        <c:axId val="43641214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v>CRUISE</c:v>
                </c:tx>
                <c:spPr>
                  <a:ln w="25400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MIN SAFETY'!$C$7:$C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39.07715318164081</c:v>
                      </c:pt>
                      <c:pt idx="1">
                        <c:v>42.312824452710153</c:v>
                      </c:pt>
                      <c:pt idx="2">
                        <c:v>45.639636681975475</c:v>
                      </c:pt>
                      <c:pt idx="3">
                        <c:v>48.303469669506498</c:v>
                      </c:pt>
                      <c:pt idx="4">
                        <c:v>50.512609621468975</c:v>
                      </c:pt>
                      <c:pt idx="5">
                        <c:v>52.402250882171316</c:v>
                      </c:pt>
                      <c:pt idx="6">
                        <c:v>54.056932193540817</c:v>
                      </c:pt>
                      <c:pt idx="7">
                        <c:v>55.531714350332848</c:v>
                      </c:pt>
                      <c:pt idx="8">
                        <c:v>56.864169126186987</c:v>
                      </c:pt>
                      <c:pt idx="9">
                        <c:v>58.081015864890716</c:v>
                      </c:pt>
                      <c:pt idx="10">
                        <c:v>59.201930734866266</c:v>
                      </c:pt>
                      <c:pt idx="11">
                        <c:v>60.24183285088629</c:v>
                      </c:pt>
                      <c:pt idx="12">
                        <c:v>61.212315642826155</c:v>
                      </c:pt>
                      <c:pt idx="13">
                        <c:v>62.122577611321503</c:v>
                      </c:pt>
                      <c:pt idx="14">
                        <c:v>62.980047996840668</c:v>
                      </c:pt>
                      <c:pt idx="15">
                        <c:v>63.790819766503489</c:v>
                      </c:pt>
                      <c:pt idx="16">
                        <c:v>64.559956990352845</c:v>
                      </c:pt>
                      <c:pt idx="17">
                        <c:v>65.291717997536821</c:v>
                      </c:pt>
                      <c:pt idx="18">
                        <c:v>65.989720636628675</c:v>
                      </c:pt>
                      <c:pt idx="19">
                        <c:v>66.65706684062375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4-0D7F-4CE3-AE4C-35C478356567}"/>
                  </c:ext>
                </c:extLst>
              </c15:ser>
            </c15:filteredScatterSeries>
            <c15:filteredScatterSeries>
              <c15:ser>
                <c:idx val="9"/>
                <c:order val="1"/>
                <c:tx>
                  <c:v>ACC 5.0 m/s²</c:v>
                </c:tx>
                <c:spPr>
                  <a:ln w="2540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7:$M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3.419243045860078</c:v>
                      </c:pt>
                      <c:pt idx="1">
                        <c:v>54.666026131391135</c:v>
                      </c:pt>
                      <c:pt idx="2">
                        <c:v>56.080086462829186</c:v>
                      </c:pt>
                      <c:pt idx="3">
                        <c:v>57.363550882214952</c:v>
                      </c:pt>
                      <c:pt idx="4">
                        <c:v>58.53996996273419</c:v>
                      </c:pt>
                      <c:pt idx="5">
                        <c:v>59.626901169764963</c:v>
                      </c:pt>
                      <c:pt idx="6">
                        <c:v>60.637795358209623</c:v>
                      </c:pt>
                      <c:pt idx="7">
                        <c:v>61.583196627979873</c:v>
                      </c:pt>
                      <c:pt idx="8">
                        <c:v>62.471533393842613</c:v>
                      </c:pt>
                      <c:pt idx="9">
                        <c:v>63.309656623959199</c:v>
                      </c:pt>
                      <c:pt idx="10">
                        <c:v>64.103216287046052</c:v>
                      </c:pt>
                      <c:pt idx="11">
                        <c:v>64.85693109127601</c:v>
                      </c:pt>
                      <c:pt idx="12">
                        <c:v>65.574785933347613</c:v>
                      </c:pt>
                      <c:pt idx="13">
                        <c:v>66.260179193427831</c:v>
                      </c:pt>
                      <c:pt idx="14">
                        <c:v>66.916034485179637</c:v>
                      </c:pt>
                      <c:pt idx="15">
                        <c:v>67.544886729380977</c:v>
                      </c:pt>
                      <c:pt idx="16">
                        <c:v>68.148949358401765</c:v>
                      </c:pt>
                      <c:pt idx="17">
                        <c:v>68.730167436997988</c:v>
                      </c:pt>
                      <c:pt idx="18">
                        <c:v>69.290260121947313</c:v>
                      </c:pt>
                      <c:pt idx="19">
                        <c:v>69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0D7F-4CE3-AE4C-35C478356567}"/>
                  </c:ext>
                </c:extLst>
              </c15:ser>
            </c15:filteredScatterSeries>
            <c15:filteredScatterSeries>
              <c15:ser>
                <c:idx val="3"/>
                <c:order val="4"/>
                <c:tx>
                  <c:v>ASEP BORDER</c:v>
                </c:tx>
                <c:spPr>
                  <a:ln w="31750" cap="rnd">
                    <a:solidFill>
                      <a:schemeClr val="tx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10:$Z$16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50</c:v>
                      </c:pt>
                      <c:pt idx="1">
                        <c:v>54.33</c:v>
                      </c:pt>
                      <c:pt idx="2">
                        <c:v>60</c:v>
                      </c:pt>
                      <c:pt idx="3">
                        <c:v>65</c:v>
                      </c:pt>
                      <c:pt idx="4">
                        <c:v>70</c:v>
                      </c:pt>
                      <c:pt idx="5">
                        <c:v>75</c:v>
                      </c:pt>
                      <c:pt idx="6">
                        <c:v>8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10:$AC$16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72.475000000000009</c:v>
                      </c:pt>
                      <c:pt idx="1">
                        <c:v>73.2</c:v>
                      </c:pt>
                      <c:pt idx="2">
                        <c:v>74.522999999999996</c:v>
                      </c:pt>
                      <c:pt idx="3">
                        <c:v>75.685000000000002</c:v>
                      </c:pt>
                      <c:pt idx="4">
                        <c:v>76.853999999999999</c:v>
                      </c:pt>
                      <c:pt idx="5">
                        <c:v>78.022999999999996</c:v>
                      </c:pt>
                      <c:pt idx="6">
                        <c:v>79.18500000000000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0D7F-4CE3-AE4C-35C478356567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v>ASEP BORDER &lt; 50 km/h</c:v>
                </c:tx>
                <c:spPr>
                  <a:ln w="28575" cap="rnd">
                    <a:solidFill>
                      <a:schemeClr val="tx1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Z$4:$Z$10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</c:v>
                      </c:pt>
                      <c:pt idx="1">
                        <c:v>25</c:v>
                      </c:pt>
                      <c:pt idx="2">
                        <c:v>30</c:v>
                      </c:pt>
                      <c:pt idx="3">
                        <c:v>35</c:v>
                      </c:pt>
                      <c:pt idx="4">
                        <c:v>40</c:v>
                      </c:pt>
                      <c:pt idx="5">
                        <c:v>45</c:v>
                      </c:pt>
                      <c:pt idx="6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C$4:$AC$10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67.475000000000009</c:v>
                      </c:pt>
                      <c:pt idx="1">
                        <c:v>68.31</c:v>
                      </c:pt>
                      <c:pt idx="2">
                        <c:v>69.14500000000001</c:v>
                      </c:pt>
                      <c:pt idx="3">
                        <c:v>69.975000000000009</c:v>
                      </c:pt>
                      <c:pt idx="4">
                        <c:v>70.81</c:v>
                      </c:pt>
                      <c:pt idx="5">
                        <c:v>71.644999999999996</c:v>
                      </c:pt>
                      <c:pt idx="6">
                        <c:v>72.4750000000000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0D7F-4CE3-AE4C-35C478356567}"/>
                  </c:ext>
                </c:extLst>
              </c15:ser>
            </c15:filteredScatterSeries>
          </c:ext>
        </c:extLst>
      </c:scatterChart>
      <c:valAx>
        <c:axId val="436408816"/>
        <c:scaling>
          <c:orientation val="minMax"/>
          <c:max val="1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12144"/>
        <c:crosses val="autoZero"/>
        <c:crossBetween val="midCat"/>
      </c:valAx>
      <c:valAx>
        <c:axId val="436412144"/>
        <c:scaling>
          <c:orientation val="minMax"/>
          <c:max val="110"/>
          <c:min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0881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6537080712788261E-2"/>
          <c:y val="0.30354662698412699"/>
          <c:w val="0.26604503968253967"/>
          <c:h val="0.12860039682539681"/>
        </c:manualLayout>
      </c:layout>
      <c:overlay val="0"/>
      <c:spPr>
        <a:solidFill>
          <a:schemeClr val="bg1">
            <a:lumMod val="95000"/>
          </a:schemeClr>
        </a:solidFill>
        <a:ln>
          <a:solidFill>
            <a:schemeClr val="bg1">
              <a:lumMod val="75000"/>
            </a:schemeClr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8258123689727468E-2"/>
          <c:y val="0.10240178571428571"/>
          <c:w val="0.89658144841269838"/>
          <c:h val="0.79557794796631254"/>
        </c:manualLayout>
      </c:layout>
      <c:scatterChart>
        <c:scatterStyle val="lineMarker"/>
        <c:varyColors val="0"/>
        <c:ser>
          <c:idx val="3"/>
          <c:order val="4"/>
          <c:tx>
            <c:v>ASEP BORDER</c:v>
          </c:tx>
          <c:spPr>
            <a:ln w="317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xVal>
            <c:numRef>
              <c:f>'ASEP 1'!$AA$10:$AA$16</c:f>
              <c:numCache>
                <c:formatCode>General</c:formatCode>
                <c:ptCount val="7"/>
                <c:pt idx="0">
                  <c:v>50</c:v>
                </c:pt>
                <c:pt idx="1">
                  <c:v>55.748181818181813</c:v>
                </c:pt>
                <c:pt idx="2">
                  <c:v>60</c:v>
                </c:pt>
                <c:pt idx="3">
                  <c:v>65</c:v>
                </c:pt>
                <c:pt idx="4">
                  <c:v>70</c:v>
                </c:pt>
                <c:pt idx="5">
                  <c:v>75</c:v>
                </c:pt>
                <c:pt idx="6">
                  <c:v>80</c:v>
                </c:pt>
              </c:numCache>
            </c:numRef>
          </c:xVal>
          <c:yVal>
            <c:numRef>
              <c:f>'ASEP 1'!$AD$10:$AD$16</c:f>
              <c:numCache>
                <c:formatCode>0.0</c:formatCode>
                <c:ptCount val="7"/>
                <c:pt idx="0">
                  <c:v>72.530909090909091</c:v>
                </c:pt>
                <c:pt idx="1">
                  <c:v>73.490909090909085</c:v>
                </c:pt>
                <c:pt idx="2">
                  <c:v>74.484909090909085</c:v>
                </c:pt>
                <c:pt idx="3">
                  <c:v>75.646909090909091</c:v>
                </c:pt>
                <c:pt idx="4">
                  <c:v>76.815909090909088</c:v>
                </c:pt>
                <c:pt idx="5">
                  <c:v>77.984909090909085</c:v>
                </c:pt>
                <c:pt idx="6">
                  <c:v>79.1469090909090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086-424D-87D2-0BDA19829783}"/>
            </c:ext>
          </c:extLst>
        </c:ser>
        <c:ser>
          <c:idx val="4"/>
          <c:order val="6"/>
          <c:tx>
            <c:v>UN R138 MAX SPL</c:v>
          </c:tx>
          <c:spPr>
            <a:ln w="3810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xVal>
            <c:numRef>
              <c:f>'MIN SAFETY'!$O$30:$O$32</c:f>
              <c:numCache>
                <c:formatCode>General</c:formatCode>
                <c:ptCount val="3"/>
                <c:pt idx="0" formatCode="0.0">
                  <c:v>0</c:v>
                </c:pt>
                <c:pt idx="1">
                  <c:v>10</c:v>
                </c:pt>
                <c:pt idx="2">
                  <c:v>20</c:v>
                </c:pt>
              </c:numCache>
            </c:numRef>
          </c:xVal>
          <c:yVal>
            <c:numRef>
              <c:f>'MIN SAFETY'!$P$30:$P$32</c:f>
              <c:numCache>
                <c:formatCode>General</c:formatCode>
                <c:ptCount val="3"/>
                <c:pt idx="0" formatCode="0.0">
                  <c:v>66</c:v>
                </c:pt>
                <c:pt idx="1">
                  <c:v>66</c:v>
                </c:pt>
                <c:pt idx="2">
                  <c:v>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086-424D-87D2-0BDA19829783}"/>
            </c:ext>
          </c:extLst>
        </c:ser>
        <c:ser>
          <c:idx val="7"/>
          <c:order val="7"/>
          <c:tx>
            <c:v>ASEP BORDER &lt; 50 km/h</c:v>
          </c:tx>
          <c:spPr>
            <a:ln w="28575" cap="rnd">
              <a:solidFill>
                <a:srgbClr val="000000"/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'ASEP 1'!$AA$4:$AA$10</c:f>
              <c:numCache>
                <c:formatCode>General</c:formatCode>
                <c:ptCount val="7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35</c:v>
                </c:pt>
                <c:pt idx="4">
                  <c:v>40</c:v>
                </c:pt>
                <c:pt idx="5">
                  <c:v>45</c:v>
                </c:pt>
                <c:pt idx="6">
                  <c:v>50</c:v>
                </c:pt>
              </c:numCache>
            </c:numRef>
          </c:xVal>
          <c:yVal>
            <c:numRef>
              <c:f>'ASEP 1'!$AD$4:$AD$10</c:f>
              <c:numCache>
                <c:formatCode>0.0</c:formatCode>
                <c:ptCount val="7"/>
                <c:pt idx="0">
                  <c:v>67.530909090909091</c:v>
                </c:pt>
                <c:pt idx="1">
                  <c:v>68.365909090909085</c:v>
                </c:pt>
                <c:pt idx="2">
                  <c:v>69.200909090909079</c:v>
                </c:pt>
                <c:pt idx="3">
                  <c:v>70.030909090909091</c:v>
                </c:pt>
                <c:pt idx="4">
                  <c:v>70.865909090909085</c:v>
                </c:pt>
                <c:pt idx="5">
                  <c:v>71.700909090909079</c:v>
                </c:pt>
                <c:pt idx="6">
                  <c:v>72.5309090909090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E086-424D-87D2-0BDA198297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6408816"/>
        <c:axId val="43641214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v>CRUISE</c:v>
                </c:tx>
                <c:spPr>
                  <a:ln w="25400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MIN SAFETY'!$C$7:$C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39.07715318164081</c:v>
                      </c:pt>
                      <c:pt idx="1">
                        <c:v>42.312824452710153</c:v>
                      </c:pt>
                      <c:pt idx="2">
                        <c:v>45.639636681975475</c:v>
                      </c:pt>
                      <c:pt idx="3">
                        <c:v>48.303469669506498</c:v>
                      </c:pt>
                      <c:pt idx="4">
                        <c:v>50.512609621468975</c:v>
                      </c:pt>
                      <c:pt idx="5">
                        <c:v>52.402250882171316</c:v>
                      </c:pt>
                      <c:pt idx="6">
                        <c:v>54.056932193540817</c:v>
                      </c:pt>
                      <c:pt idx="7">
                        <c:v>55.531714350332848</c:v>
                      </c:pt>
                      <c:pt idx="8">
                        <c:v>56.864169126186987</c:v>
                      </c:pt>
                      <c:pt idx="9">
                        <c:v>58.081015864890716</c:v>
                      </c:pt>
                      <c:pt idx="10">
                        <c:v>59.201930734866266</c:v>
                      </c:pt>
                      <c:pt idx="11">
                        <c:v>60.24183285088629</c:v>
                      </c:pt>
                      <c:pt idx="12">
                        <c:v>61.212315642826155</c:v>
                      </c:pt>
                      <c:pt idx="13">
                        <c:v>62.122577611321503</c:v>
                      </c:pt>
                      <c:pt idx="14">
                        <c:v>62.980047996840668</c:v>
                      </c:pt>
                      <c:pt idx="15">
                        <c:v>63.790819766503489</c:v>
                      </c:pt>
                      <c:pt idx="16">
                        <c:v>64.559956990352845</c:v>
                      </c:pt>
                      <c:pt idx="17">
                        <c:v>65.291717997536821</c:v>
                      </c:pt>
                      <c:pt idx="18">
                        <c:v>65.989720636628675</c:v>
                      </c:pt>
                      <c:pt idx="19">
                        <c:v>66.65706684062375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3-E086-424D-87D2-0BDA19829783}"/>
                  </c:ext>
                </c:extLst>
              </c15:ser>
            </c15:filteredScatterSeries>
            <c15:filteredScatterSeries>
              <c15:ser>
                <c:idx val="9"/>
                <c:order val="1"/>
                <c:tx>
                  <c:v>ACC 5.0 m/s²</c:v>
                </c:tx>
                <c:spPr>
                  <a:ln w="2540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7:$M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3.419243045860078</c:v>
                      </c:pt>
                      <c:pt idx="1">
                        <c:v>54.666026131391135</c:v>
                      </c:pt>
                      <c:pt idx="2">
                        <c:v>56.080086462829186</c:v>
                      </c:pt>
                      <c:pt idx="3">
                        <c:v>57.363550882214952</c:v>
                      </c:pt>
                      <c:pt idx="4">
                        <c:v>58.53996996273419</c:v>
                      </c:pt>
                      <c:pt idx="5">
                        <c:v>59.626901169764963</c:v>
                      </c:pt>
                      <c:pt idx="6">
                        <c:v>60.637795358209623</c:v>
                      </c:pt>
                      <c:pt idx="7">
                        <c:v>61.583196627979873</c:v>
                      </c:pt>
                      <c:pt idx="8">
                        <c:v>62.471533393842613</c:v>
                      </c:pt>
                      <c:pt idx="9">
                        <c:v>63.309656623959199</c:v>
                      </c:pt>
                      <c:pt idx="10">
                        <c:v>64.103216287046052</c:v>
                      </c:pt>
                      <c:pt idx="11">
                        <c:v>64.85693109127601</c:v>
                      </c:pt>
                      <c:pt idx="12">
                        <c:v>65.574785933347613</c:v>
                      </c:pt>
                      <c:pt idx="13">
                        <c:v>66.260179193427831</c:v>
                      </c:pt>
                      <c:pt idx="14">
                        <c:v>66.916034485179637</c:v>
                      </c:pt>
                      <c:pt idx="15">
                        <c:v>67.544886729380977</c:v>
                      </c:pt>
                      <c:pt idx="16">
                        <c:v>68.148949358401765</c:v>
                      </c:pt>
                      <c:pt idx="17">
                        <c:v>68.730167436997988</c:v>
                      </c:pt>
                      <c:pt idx="18">
                        <c:v>69.290260121947313</c:v>
                      </c:pt>
                      <c:pt idx="19">
                        <c:v>69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E086-424D-87D2-0BDA19829783}"/>
                  </c:ext>
                </c:extLst>
              </c15:ser>
            </c15:filteredScatterSeries>
            <c15:filteredScatterSeries>
              <c15:ser>
                <c:idx val="1"/>
                <c:order val="2"/>
                <c:tx>
                  <c:v>CRUISE incl Margin</c:v>
                </c:tx>
                <c:spPr>
                  <a:ln w="25400" cap="rnd">
                    <a:solidFill>
                      <a:srgbClr val="00B050"/>
                    </a:solidFill>
                    <a:prstDash val="solid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C$33:$C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45.07715318164081</c:v>
                      </c:pt>
                      <c:pt idx="1">
                        <c:v>48.312824452710153</c:v>
                      </c:pt>
                      <c:pt idx="2">
                        <c:v>51.639636681975475</c:v>
                      </c:pt>
                      <c:pt idx="3">
                        <c:v>54.303469669506498</c:v>
                      </c:pt>
                      <c:pt idx="4">
                        <c:v>56.512609621468975</c:v>
                      </c:pt>
                      <c:pt idx="5">
                        <c:v>58.402250882171316</c:v>
                      </c:pt>
                      <c:pt idx="6">
                        <c:v>60.056932193540817</c:v>
                      </c:pt>
                      <c:pt idx="7">
                        <c:v>61.531714350332848</c:v>
                      </c:pt>
                      <c:pt idx="8">
                        <c:v>62.864169126186987</c:v>
                      </c:pt>
                      <c:pt idx="9">
                        <c:v>64.081015864890716</c:v>
                      </c:pt>
                      <c:pt idx="10">
                        <c:v>65.201930734866266</c:v>
                      </c:pt>
                      <c:pt idx="11">
                        <c:v>66.241832850886283</c:v>
                      </c:pt>
                      <c:pt idx="12">
                        <c:v>67.212315642826155</c:v>
                      </c:pt>
                      <c:pt idx="13">
                        <c:v>68.122577611321503</c:v>
                      </c:pt>
                      <c:pt idx="14">
                        <c:v>68.980047996840668</c:v>
                      </c:pt>
                      <c:pt idx="15">
                        <c:v>69.790819766503489</c:v>
                      </c:pt>
                      <c:pt idx="16">
                        <c:v>70.559956990352845</c:v>
                      </c:pt>
                      <c:pt idx="17">
                        <c:v>71.291717997536821</c:v>
                      </c:pt>
                      <c:pt idx="18">
                        <c:v>71.989720636628675</c:v>
                      </c:pt>
                      <c:pt idx="19">
                        <c:v>72.65706684062375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E086-424D-87D2-0BDA19829783}"/>
                  </c:ext>
                </c:extLst>
              </c15:ser>
            </c15:filteredScatterSeries>
            <c15:filteredScatterSeries>
              <c15:ser>
                <c:idx val="2"/>
                <c:order val="3"/>
                <c:tx>
                  <c:v>ACC 5.0 m/s² incl Margin</c:v>
                </c:tx>
                <c:spPr>
                  <a:ln w="25400" cap="rnd">
                    <a:solidFill>
                      <a:srgbClr val="00B05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33:$M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9.419243045860078</c:v>
                      </c:pt>
                      <c:pt idx="1">
                        <c:v>60.666026131391135</c:v>
                      </c:pt>
                      <c:pt idx="2">
                        <c:v>62.080086462829186</c:v>
                      </c:pt>
                      <c:pt idx="3">
                        <c:v>63.363550882214952</c:v>
                      </c:pt>
                      <c:pt idx="4">
                        <c:v>64.53996996273419</c:v>
                      </c:pt>
                      <c:pt idx="5">
                        <c:v>65.626901169764963</c:v>
                      </c:pt>
                      <c:pt idx="6">
                        <c:v>66.637795358209615</c:v>
                      </c:pt>
                      <c:pt idx="7">
                        <c:v>67.583196627979873</c:v>
                      </c:pt>
                      <c:pt idx="8">
                        <c:v>68.471533393842606</c:v>
                      </c:pt>
                      <c:pt idx="9">
                        <c:v>69.309656623959199</c:v>
                      </c:pt>
                      <c:pt idx="10">
                        <c:v>70.103216287046052</c:v>
                      </c:pt>
                      <c:pt idx="11">
                        <c:v>70.85693109127601</c:v>
                      </c:pt>
                      <c:pt idx="12">
                        <c:v>71.574785933347613</c:v>
                      </c:pt>
                      <c:pt idx="13">
                        <c:v>72.260179193427831</c:v>
                      </c:pt>
                      <c:pt idx="14">
                        <c:v>72.916034485179637</c:v>
                      </c:pt>
                      <c:pt idx="15">
                        <c:v>73.544886729380977</c:v>
                      </c:pt>
                      <c:pt idx="16">
                        <c:v>74.148949358401765</c:v>
                      </c:pt>
                      <c:pt idx="17">
                        <c:v>74.730167436997988</c:v>
                      </c:pt>
                      <c:pt idx="18">
                        <c:v>75.290260121947313</c:v>
                      </c:pt>
                      <c:pt idx="19">
                        <c:v>75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E086-424D-87D2-0BDA19829783}"/>
                  </c:ext>
                </c:extLst>
              </c15:ser>
            </c15:filteredScatterSeries>
            <c15:filteredScatterSeries>
              <c15:ser>
                <c:idx val="6"/>
                <c:order val="5"/>
                <c:tx>
                  <c:v>Draft UN R138.02 Max Sound</c:v>
                </c:tx>
                <c:spPr>
                  <a:ln w="31750" cap="rnd">
                    <a:solidFill>
                      <a:srgbClr val="00B0F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G$13:$AG$2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</c:v>
                      </c:pt>
                      <c:pt idx="1">
                        <c:v>10</c:v>
                      </c:pt>
                      <c:pt idx="2">
                        <c:v>20</c:v>
                      </c:pt>
                      <c:pt idx="3">
                        <c:v>30</c:v>
                      </c:pt>
                      <c:pt idx="4">
                        <c:v>32</c:v>
                      </c:pt>
                      <c:pt idx="5">
                        <c:v>40</c:v>
                      </c:pt>
                      <c:pt idx="6">
                        <c:v>50</c:v>
                      </c:pt>
                      <c:pt idx="7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H$13:$AH$2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66</c:v>
                      </c:pt>
                      <c:pt idx="1">
                        <c:v>66</c:v>
                      </c:pt>
                      <c:pt idx="2">
                        <c:v>66</c:v>
                      </c:pt>
                      <c:pt idx="3">
                        <c:v>66</c:v>
                      </c:pt>
                      <c:pt idx="4">
                        <c:v>66</c:v>
                      </c:pt>
                      <c:pt idx="5">
                        <c:v>57.56</c:v>
                      </c:pt>
                      <c:pt idx="6">
                        <c:v>47</c:v>
                      </c:pt>
                      <c:pt idx="7">
                        <c:v>0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E086-424D-87D2-0BDA19829783}"/>
                  </c:ext>
                </c:extLst>
              </c15:ser>
            </c15:filteredScatterSeries>
          </c:ext>
        </c:extLst>
      </c:scatterChart>
      <c:valAx>
        <c:axId val="436408816"/>
        <c:scaling>
          <c:orientation val="minMax"/>
          <c:max val="100"/>
        </c:scaling>
        <c:delete val="0"/>
        <c:axPos val="b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12144"/>
        <c:crosses val="autoZero"/>
        <c:crossBetween val="midCat"/>
      </c:valAx>
      <c:valAx>
        <c:axId val="436412144"/>
        <c:scaling>
          <c:orientation val="minMax"/>
          <c:max val="110"/>
          <c:min val="4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08816"/>
        <c:crosses val="autoZero"/>
        <c:crossBetween val="midCat"/>
      </c:valAx>
      <c:spPr>
        <a:noFill/>
        <a:ln w="25400">
          <a:noFill/>
        </a:ln>
        <a:effectLst/>
      </c:spPr>
    </c:plotArea>
    <c:legend>
      <c:legendPos val="b"/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8.6537080712788247E-2"/>
          <c:y val="0.4345783730158731"/>
          <c:w val="0.26604503968253967"/>
          <c:h val="5.5524999999999998E-2"/>
        </c:manualLayout>
      </c:layout>
      <c:overlay val="0"/>
      <c:spPr>
        <a:solidFill>
          <a:schemeClr val="bg1">
            <a:lumMod val="95000"/>
          </a:schemeClr>
        </a:solidFill>
        <a:ln>
          <a:solidFill>
            <a:schemeClr val="bg1">
              <a:lumMod val="75000"/>
            </a:schemeClr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8068948412698416E-2"/>
          <c:y val="0.10240172078092773"/>
          <c:w val="0.89658144841269838"/>
          <c:h val="0.79557794796631254"/>
        </c:manualLayout>
      </c:layout>
      <c:scatterChart>
        <c:scatterStyle val="lineMarker"/>
        <c:varyColors val="0"/>
        <c:ser>
          <c:idx val="5"/>
          <c:order val="0"/>
          <c:tx>
            <c:v>Test Data</c:v>
          </c:tx>
          <c:spPr>
            <a:ln w="19050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>
                    <a:lumMod val="75000"/>
                  </a:schemeClr>
                </a:solidFill>
              </a:ln>
              <a:effectLst/>
            </c:spPr>
          </c:marker>
          <c:xVal>
            <c:numRef>
              <c:f>'ASEP 1'!$X$5:$X$3933</c:f>
              <c:numCache>
                <c:formatCode>0.0</c:formatCode>
                <c:ptCount val="3929"/>
                <c:pt idx="0">
                  <c:v>43.7</c:v>
                </c:pt>
                <c:pt idx="1">
                  <c:v>46.6</c:v>
                </c:pt>
                <c:pt idx="2">
                  <c:v>60.9</c:v>
                </c:pt>
                <c:pt idx="3">
                  <c:v>70</c:v>
                </c:pt>
                <c:pt idx="4">
                  <c:v>78.7</c:v>
                </c:pt>
                <c:pt idx="5">
                  <c:v>88.5</c:v>
                </c:pt>
                <c:pt idx="6">
                  <c:v>54</c:v>
                </c:pt>
                <c:pt idx="7">
                  <c:v>38.299999999999997</c:v>
                </c:pt>
                <c:pt idx="8">
                  <c:v>53.1</c:v>
                </c:pt>
                <c:pt idx="9">
                  <c:v>68.7</c:v>
                </c:pt>
                <c:pt idx="10">
                  <c:v>10.6</c:v>
                </c:pt>
                <c:pt idx="11">
                  <c:v>5.2</c:v>
                </c:pt>
                <c:pt idx="12">
                  <c:v>10.9</c:v>
                </c:pt>
                <c:pt idx="13">
                  <c:v>15.2</c:v>
                </c:pt>
                <c:pt idx="14">
                  <c:v>20.6</c:v>
                </c:pt>
                <c:pt idx="15">
                  <c:v>31.2</c:v>
                </c:pt>
                <c:pt idx="16">
                  <c:v>40.200000000000003</c:v>
                </c:pt>
                <c:pt idx="17">
                  <c:v>60.4</c:v>
                </c:pt>
                <c:pt idx="18">
                  <c:v>70.8</c:v>
                </c:pt>
                <c:pt idx="19">
                  <c:v>80.099999999999994</c:v>
                </c:pt>
                <c:pt idx="20">
                  <c:v>48.9</c:v>
                </c:pt>
                <c:pt idx="21">
                  <c:v>14.5</c:v>
                </c:pt>
                <c:pt idx="22">
                  <c:v>8.1999999999999993</c:v>
                </c:pt>
                <c:pt idx="23">
                  <c:v>5.5</c:v>
                </c:pt>
                <c:pt idx="24">
                  <c:v>38.799999999999997</c:v>
                </c:pt>
                <c:pt idx="25">
                  <c:v>40.4</c:v>
                </c:pt>
                <c:pt idx="26">
                  <c:v>46</c:v>
                </c:pt>
                <c:pt idx="27">
                  <c:v>51.7</c:v>
                </c:pt>
                <c:pt idx="28">
                  <c:v>58.8</c:v>
                </c:pt>
                <c:pt idx="29">
                  <c:v>69.5</c:v>
                </c:pt>
                <c:pt idx="30">
                  <c:v>77.3</c:v>
                </c:pt>
                <c:pt idx="31">
                  <c:v>50.9</c:v>
                </c:pt>
                <c:pt idx="32">
                  <c:v>56.6</c:v>
                </c:pt>
                <c:pt idx="33">
                  <c:v>66.5</c:v>
                </c:pt>
                <c:pt idx="34">
                  <c:v>72.7</c:v>
                </c:pt>
                <c:pt idx="35">
                  <c:v>81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38.9</c:v>
                </c:pt>
                <c:pt idx="101">
                  <c:v>40.6</c:v>
                </c:pt>
                <c:pt idx="102">
                  <c:v>44.9</c:v>
                </c:pt>
                <c:pt idx="103">
                  <c:v>51.8</c:v>
                </c:pt>
                <c:pt idx="104">
                  <c:v>60.7</c:v>
                </c:pt>
                <c:pt idx="105">
                  <c:v>68.099999999999994</c:v>
                </c:pt>
                <c:pt idx="106">
                  <c:v>76.900000000000006</c:v>
                </c:pt>
                <c:pt idx="107">
                  <c:v>73.8</c:v>
                </c:pt>
                <c:pt idx="108">
                  <c:v>81.2</c:v>
                </c:pt>
                <c:pt idx="109">
                  <c:v>50.7</c:v>
                </c:pt>
                <c:pt idx="110">
                  <c:v>56.7</c:v>
                </c:pt>
                <c:pt idx="111">
                  <c:v>66.099999999999994</c:v>
                </c:pt>
                <c:pt idx="112">
                  <c:v>39.9</c:v>
                </c:pt>
                <c:pt idx="113">
                  <c:v>29.9</c:v>
                </c:pt>
                <c:pt idx="114">
                  <c:v>20.5</c:v>
                </c:pt>
                <c:pt idx="115">
                  <c:v>15.7</c:v>
                </c:pt>
                <c:pt idx="116">
                  <c:v>50.3</c:v>
                </c:pt>
                <c:pt idx="117">
                  <c:v>59.2</c:v>
                </c:pt>
                <c:pt idx="118">
                  <c:v>66.599999999999994</c:v>
                </c:pt>
                <c:pt idx="119">
                  <c:v>77.3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38.6</c:v>
                </c:pt>
                <c:pt idx="301">
                  <c:v>40.799999999999997</c:v>
                </c:pt>
                <c:pt idx="302">
                  <c:v>45.6</c:v>
                </c:pt>
                <c:pt idx="303">
                  <c:v>52.1</c:v>
                </c:pt>
                <c:pt idx="304">
                  <c:v>58.3</c:v>
                </c:pt>
                <c:pt idx="305">
                  <c:v>65.099999999999994</c:v>
                </c:pt>
                <c:pt idx="306">
                  <c:v>73.2</c:v>
                </c:pt>
                <c:pt idx="307">
                  <c:v>74.8</c:v>
                </c:pt>
                <c:pt idx="308">
                  <c:v>74.7</c:v>
                </c:pt>
                <c:pt idx="309">
                  <c:v>52.3</c:v>
                </c:pt>
                <c:pt idx="310">
                  <c:v>54.9</c:v>
                </c:pt>
                <c:pt idx="311">
                  <c:v>58.3</c:v>
                </c:pt>
                <c:pt idx="312">
                  <c:v>62.4</c:v>
                </c:pt>
                <c:pt idx="313">
                  <c:v>68.8</c:v>
                </c:pt>
                <c:pt idx="314">
                  <c:v>75.2</c:v>
                </c:pt>
                <c:pt idx="315">
                  <c:v>81</c:v>
                </c:pt>
                <c:pt idx="316">
                  <c:v>10.8</c:v>
                </c:pt>
                <c:pt idx="317">
                  <c:v>30.5</c:v>
                </c:pt>
                <c:pt idx="318">
                  <c:v>38.9</c:v>
                </c:pt>
                <c:pt idx="319">
                  <c:v>20.8</c:v>
                </c:pt>
                <c:pt idx="320">
                  <c:v>48.2</c:v>
                </c:pt>
                <c:pt idx="321">
                  <c:v>58.1</c:v>
                </c:pt>
                <c:pt idx="322">
                  <c:v>68</c:v>
                </c:pt>
                <c:pt idx="323">
                  <c:v>77.599999999999994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36.200000000000003</c:v>
                </c:pt>
                <c:pt idx="401">
                  <c:v>40.200000000000003</c:v>
                </c:pt>
                <c:pt idx="402">
                  <c:v>45.3</c:v>
                </c:pt>
                <c:pt idx="403">
                  <c:v>51.3</c:v>
                </c:pt>
                <c:pt idx="404">
                  <c:v>60.1</c:v>
                </c:pt>
                <c:pt idx="405">
                  <c:v>66.5</c:v>
                </c:pt>
                <c:pt idx="406">
                  <c:v>75</c:v>
                </c:pt>
                <c:pt idx="407">
                  <c:v>82.8</c:v>
                </c:pt>
                <c:pt idx="408">
                  <c:v>52.3</c:v>
                </c:pt>
                <c:pt idx="409">
                  <c:v>54.3</c:v>
                </c:pt>
                <c:pt idx="410">
                  <c:v>58.1</c:v>
                </c:pt>
                <c:pt idx="411">
                  <c:v>64</c:v>
                </c:pt>
                <c:pt idx="412">
                  <c:v>69.2</c:v>
                </c:pt>
                <c:pt idx="413">
                  <c:v>76.400000000000006</c:v>
                </c:pt>
                <c:pt idx="414">
                  <c:v>81.900000000000006</c:v>
                </c:pt>
                <c:pt idx="415">
                  <c:v>77.5</c:v>
                </c:pt>
                <c:pt idx="416">
                  <c:v>68.599999999999994</c:v>
                </c:pt>
                <c:pt idx="417">
                  <c:v>59.2</c:v>
                </c:pt>
                <c:pt idx="418">
                  <c:v>50.2</c:v>
                </c:pt>
                <c:pt idx="419">
                  <c:v>40.5</c:v>
                </c:pt>
                <c:pt idx="420">
                  <c:v>31.1</c:v>
                </c:pt>
                <c:pt idx="421">
                  <c:v>20.7</c:v>
                </c:pt>
                <c:pt idx="422">
                  <c:v>10.5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68.2</c:v>
                </c:pt>
                <c:pt idx="501">
                  <c:v>70.599999999999994</c:v>
                </c:pt>
                <c:pt idx="502">
                  <c:v>71</c:v>
                </c:pt>
                <c:pt idx="503">
                  <c:v>74.3</c:v>
                </c:pt>
                <c:pt idx="504">
                  <c:v>79.400000000000006</c:v>
                </c:pt>
                <c:pt idx="505">
                  <c:v>83.8</c:v>
                </c:pt>
                <c:pt idx="506">
                  <c:v>56.1</c:v>
                </c:pt>
                <c:pt idx="507">
                  <c:v>61.8</c:v>
                </c:pt>
                <c:pt idx="508">
                  <c:v>58.4</c:v>
                </c:pt>
                <c:pt idx="509">
                  <c:v>58.4</c:v>
                </c:pt>
                <c:pt idx="510">
                  <c:v>60.5</c:v>
                </c:pt>
                <c:pt idx="511">
                  <c:v>64.2</c:v>
                </c:pt>
                <c:pt idx="512">
                  <c:v>63.3</c:v>
                </c:pt>
                <c:pt idx="513">
                  <c:v>73.599999999999994</c:v>
                </c:pt>
                <c:pt idx="514">
                  <c:v>79.5</c:v>
                </c:pt>
                <c:pt idx="515">
                  <c:v>78.8</c:v>
                </c:pt>
                <c:pt idx="516">
                  <c:v>83.8</c:v>
                </c:pt>
                <c:pt idx="517">
                  <c:v>90.6</c:v>
                </c:pt>
                <c:pt idx="518">
                  <c:v>38</c:v>
                </c:pt>
                <c:pt idx="519">
                  <c:v>40.200000000000003</c:v>
                </c:pt>
                <c:pt idx="520">
                  <c:v>40.4</c:v>
                </c:pt>
                <c:pt idx="521">
                  <c:v>42.6</c:v>
                </c:pt>
                <c:pt idx="522">
                  <c:v>43.2</c:v>
                </c:pt>
                <c:pt idx="523">
                  <c:v>48.9</c:v>
                </c:pt>
                <c:pt idx="524">
                  <c:v>45.4</c:v>
                </c:pt>
                <c:pt idx="525">
                  <c:v>47.9</c:v>
                </c:pt>
                <c:pt idx="526">
                  <c:v>51.5</c:v>
                </c:pt>
                <c:pt idx="527">
                  <c:v>54</c:v>
                </c:pt>
                <c:pt idx="528">
                  <c:v>56.8</c:v>
                </c:pt>
                <c:pt idx="529">
                  <c:v>60.3</c:v>
                </c:pt>
                <c:pt idx="530">
                  <c:v>67.8</c:v>
                </c:pt>
                <c:pt idx="531">
                  <c:v>74.5</c:v>
                </c:pt>
                <c:pt idx="532">
                  <c:v>75.2</c:v>
                </c:pt>
                <c:pt idx="533">
                  <c:v>70.8</c:v>
                </c:pt>
                <c:pt idx="534">
                  <c:v>60.3</c:v>
                </c:pt>
                <c:pt idx="535">
                  <c:v>50.5</c:v>
                </c:pt>
                <c:pt idx="536">
                  <c:v>44.9</c:v>
                </c:pt>
                <c:pt idx="537">
                  <c:v>40.700000000000003</c:v>
                </c:pt>
                <c:pt idx="538">
                  <c:v>35.1</c:v>
                </c:pt>
                <c:pt idx="539">
                  <c:v>30.9</c:v>
                </c:pt>
                <c:pt idx="540">
                  <c:v>25.4</c:v>
                </c:pt>
                <c:pt idx="541">
                  <c:v>20.3</c:v>
                </c:pt>
                <c:pt idx="542">
                  <c:v>15.7</c:v>
                </c:pt>
                <c:pt idx="543">
                  <c:v>10.5</c:v>
                </c:pt>
                <c:pt idx="544">
                  <c:v>5.2</c:v>
                </c:pt>
                <c:pt idx="545">
                  <c:v>30.7</c:v>
                </c:pt>
                <c:pt idx="546">
                  <c:v>21.1</c:v>
                </c:pt>
                <c:pt idx="547">
                  <c:v>35</c:v>
                </c:pt>
                <c:pt idx="548">
                  <c:v>23</c:v>
                </c:pt>
                <c:pt idx="549">
                  <c:v>31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43.1</c:v>
                </c:pt>
                <c:pt idx="601">
                  <c:v>39.6</c:v>
                </c:pt>
                <c:pt idx="602">
                  <c:v>47.8</c:v>
                </c:pt>
                <c:pt idx="603">
                  <c:v>53.9</c:v>
                </c:pt>
                <c:pt idx="604">
                  <c:v>60.9</c:v>
                </c:pt>
                <c:pt idx="605">
                  <c:v>68.3</c:v>
                </c:pt>
                <c:pt idx="606">
                  <c:v>76.599999999999994</c:v>
                </c:pt>
                <c:pt idx="607">
                  <c:v>85.2</c:v>
                </c:pt>
                <c:pt idx="608">
                  <c:v>83.1</c:v>
                </c:pt>
                <c:pt idx="609">
                  <c:v>67.900000000000006</c:v>
                </c:pt>
                <c:pt idx="610">
                  <c:v>69.900000000000006</c:v>
                </c:pt>
                <c:pt idx="611">
                  <c:v>72.400000000000006</c:v>
                </c:pt>
                <c:pt idx="612">
                  <c:v>74</c:v>
                </c:pt>
                <c:pt idx="613">
                  <c:v>79.2</c:v>
                </c:pt>
                <c:pt idx="614">
                  <c:v>82.9</c:v>
                </c:pt>
                <c:pt idx="615">
                  <c:v>56.7</c:v>
                </c:pt>
                <c:pt idx="616">
                  <c:v>61.3</c:v>
                </c:pt>
                <c:pt idx="617">
                  <c:v>58.1</c:v>
                </c:pt>
                <c:pt idx="618">
                  <c:v>56.3</c:v>
                </c:pt>
                <c:pt idx="619">
                  <c:v>59.2</c:v>
                </c:pt>
                <c:pt idx="620">
                  <c:v>58.8</c:v>
                </c:pt>
                <c:pt idx="621">
                  <c:v>59</c:v>
                </c:pt>
                <c:pt idx="622">
                  <c:v>62.6</c:v>
                </c:pt>
                <c:pt idx="623">
                  <c:v>72.400000000000006</c:v>
                </c:pt>
                <c:pt idx="624">
                  <c:v>79.400000000000006</c:v>
                </c:pt>
                <c:pt idx="625">
                  <c:v>82.9</c:v>
                </c:pt>
                <c:pt idx="626">
                  <c:v>93.6</c:v>
                </c:pt>
                <c:pt idx="627">
                  <c:v>61.7</c:v>
                </c:pt>
                <c:pt idx="628">
                  <c:v>59.2</c:v>
                </c:pt>
                <c:pt idx="629">
                  <c:v>59.2</c:v>
                </c:pt>
                <c:pt idx="630">
                  <c:v>62.7</c:v>
                </c:pt>
                <c:pt idx="631">
                  <c:v>64.099999999999994</c:v>
                </c:pt>
                <c:pt idx="632">
                  <c:v>51.1</c:v>
                </c:pt>
                <c:pt idx="633">
                  <c:v>49.2</c:v>
                </c:pt>
                <c:pt idx="634">
                  <c:v>50.5</c:v>
                </c:pt>
                <c:pt idx="635">
                  <c:v>50.5</c:v>
                </c:pt>
                <c:pt idx="636">
                  <c:v>58.2</c:v>
                </c:pt>
                <c:pt idx="637">
                  <c:v>29.7</c:v>
                </c:pt>
                <c:pt idx="638">
                  <c:v>30.7</c:v>
                </c:pt>
                <c:pt idx="639">
                  <c:v>34.700000000000003</c:v>
                </c:pt>
                <c:pt idx="640">
                  <c:v>41.1</c:v>
                </c:pt>
                <c:pt idx="641">
                  <c:v>48.4</c:v>
                </c:pt>
                <c:pt idx="642">
                  <c:v>55.5</c:v>
                </c:pt>
                <c:pt idx="643">
                  <c:v>34.700000000000003</c:v>
                </c:pt>
                <c:pt idx="644">
                  <c:v>26.7</c:v>
                </c:pt>
                <c:pt idx="645">
                  <c:v>15.3</c:v>
                </c:pt>
                <c:pt idx="646">
                  <c:v>25.5</c:v>
                </c:pt>
                <c:pt idx="647">
                  <c:v>30.2</c:v>
                </c:pt>
                <c:pt idx="648">
                  <c:v>5.3</c:v>
                </c:pt>
                <c:pt idx="649">
                  <c:v>10.7</c:v>
                </c:pt>
                <c:pt idx="650">
                  <c:v>20.8</c:v>
                </c:pt>
                <c:pt idx="651">
                  <c:v>35.5</c:v>
                </c:pt>
                <c:pt idx="652">
                  <c:v>39.9</c:v>
                </c:pt>
                <c:pt idx="653">
                  <c:v>44.9</c:v>
                </c:pt>
                <c:pt idx="654">
                  <c:v>49.5</c:v>
                </c:pt>
                <c:pt idx="655">
                  <c:v>49.5</c:v>
                </c:pt>
                <c:pt idx="656">
                  <c:v>44.9</c:v>
                </c:pt>
                <c:pt idx="657">
                  <c:v>44.7</c:v>
                </c:pt>
                <c:pt idx="658">
                  <c:v>35.1</c:v>
                </c:pt>
                <c:pt idx="659">
                  <c:v>32.4</c:v>
                </c:pt>
                <c:pt idx="660">
                  <c:v>23.4</c:v>
                </c:pt>
                <c:pt idx="661">
                  <c:v>32.799999999999997</c:v>
                </c:pt>
                <c:pt idx="662">
                  <c:v>25.3</c:v>
                </c:pt>
                <c:pt idx="663">
                  <c:v>29.3</c:v>
                </c:pt>
                <c:pt idx="664">
                  <c:v>26.5</c:v>
                </c:pt>
                <c:pt idx="665">
                  <c:v>33.700000000000003</c:v>
                </c:pt>
                <c:pt idx="666">
                  <c:v>28.4</c:v>
                </c:pt>
                <c:pt idx="667">
                  <c:v>35.299999999999997</c:v>
                </c:pt>
                <c:pt idx="668">
                  <c:v>31.6</c:v>
                </c:pt>
                <c:pt idx="669">
                  <c:v>41.8</c:v>
                </c:pt>
                <c:pt idx="670">
                  <c:v>36</c:v>
                </c:pt>
                <c:pt idx="671">
                  <c:v>43.6</c:v>
                </c:pt>
                <c:pt idx="672">
                  <c:v>41.5</c:v>
                </c:pt>
                <c:pt idx="673">
                  <c:v>40</c:v>
                </c:pt>
                <c:pt idx="674">
                  <c:v>46.6</c:v>
                </c:pt>
                <c:pt idx="675">
                  <c:v>44.3</c:v>
                </c:pt>
                <c:pt idx="676">
                  <c:v>51.6</c:v>
                </c:pt>
                <c:pt idx="677">
                  <c:v>49.3</c:v>
                </c:pt>
                <c:pt idx="678">
                  <c:v>5.4</c:v>
                </c:pt>
                <c:pt idx="679">
                  <c:v>15.6</c:v>
                </c:pt>
                <c:pt idx="680">
                  <c:v>25.6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51.7</c:v>
                </c:pt>
                <c:pt idx="701">
                  <c:v>55.2</c:v>
                </c:pt>
                <c:pt idx="702">
                  <c:v>62</c:v>
                </c:pt>
                <c:pt idx="703">
                  <c:v>68.900000000000006</c:v>
                </c:pt>
                <c:pt idx="704">
                  <c:v>73.8</c:v>
                </c:pt>
                <c:pt idx="705">
                  <c:v>75</c:v>
                </c:pt>
                <c:pt idx="706">
                  <c:v>83.7</c:v>
                </c:pt>
                <c:pt idx="707">
                  <c:v>92.4</c:v>
                </c:pt>
                <c:pt idx="708">
                  <c:v>38.700000000000003</c:v>
                </c:pt>
                <c:pt idx="709">
                  <c:v>43.6</c:v>
                </c:pt>
                <c:pt idx="710">
                  <c:v>49.9</c:v>
                </c:pt>
                <c:pt idx="711">
                  <c:v>58.2</c:v>
                </c:pt>
                <c:pt idx="712">
                  <c:v>65.3</c:v>
                </c:pt>
                <c:pt idx="713">
                  <c:v>72.5</c:v>
                </c:pt>
                <c:pt idx="714">
                  <c:v>78.599999999999994</c:v>
                </c:pt>
                <c:pt idx="715">
                  <c:v>74.8</c:v>
                </c:pt>
                <c:pt idx="716">
                  <c:v>78.599999999999994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55.9</c:v>
                </c:pt>
                <c:pt idx="801">
                  <c:v>60.2</c:v>
                </c:pt>
                <c:pt idx="802">
                  <c:v>68.400000000000006</c:v>
                </c:pt>
                <c:pt idx="803">
                  <c:v>71</c:v>
                </c:pt>
                <c:pt idx="804">
                  <c:v>76.099999999999994</c:v>
                </c:pt>
                <c:pt idx="805">
                  <c:v>83.8</c:v>
                </c:pt>
                <c:pt idx="806">
                  <c:v>93.5</c:v>
                </c:pt>
                <c:pt idx="807">
                  <c:v>98.5</c:v>
                </c:pt>
                <c:pt idx="808">
                  <c:v>77.7</c:v>
                </c:pt>
                <c:pt idx="809">
                  <c:v>38.799999999999997</c:v>
                </c:pt>
                <c:pt idx="810">
                  <c:v>45.3</c:v>
                </c:pt>
                <c:pt idx="811">
                  <c:v>52.4</c:v>
                </c:pt>
                <c:pt idx="812">
                  <c:v>68.900000000000006</c:v>
                </c:pt>
                <c:pt idx="813">
                  <c:v>79.3</c:v>
                </c:pt>
                <c:pt idx="814">
                  <c:v>83.6</c:v>
                </c:pt>
                <c:pt idx="815">
                  <c:v>86.3</c:v>
                </c:pt>
                <c:pt idx="816">
                  <c:v>0</c:v>
                </c:pt>
                <c:pt idx="817">
                  <c:v>0</c:v>
                </c:pt>
                <c:pt idx="818">
                  <c:v>0</c:v>
                </c:pt>
                <c:pt idx="819">
                  <c:v>0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</c:v>
                </c:pt>
                <c:pt idx="824">
                  <c:v>0</c:v>
                </c:pt>
                <c:pt idx="825">
                  <c:v>0</c:v>
                </c:pt>
                <c:pt idx="826">
                  <c:v>0</c:v>
                </c:pt>
                <c:pt idx="827">
                  <c:v>0</c:v>
                </c:pt>
                <c:pt idx="828">
                  <c:v>0</c:v>
                </c:pt>
                <c:pt idx="829">
                  <c:v>0</c:v>
                </c:pt>
                <c:pt idx="830">
                  <c:v>0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0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0</c:v>
                </c:pt>
                <c:pt idx="846">
                  <c:v>0</c:v>
                </c:pt>
                <c:pt idx="847">
                  <c:v>0</c:v>
                </c:pt>
                <c:pt idx="848">
                  <c:v>0</c:v>
                </c:pt>
                <c:pt idx="849">
                  <c:v>0</c:v>
                </c:pt>
                <c:pt idx="850">
                  <c:v>0</c:v>
                </c:pt>
                <c:pt idx="851">
                  <c:v>0</c:v>
                </c:pt>
                <c:pt idx="852">
                  <c:v>0</c:v>
                </c:pt>
                <c:pt idx="853">
                  <c:v>0</c:v>
                </c:pt>
                <c:pt idx="854">
                  <c:v>0</c:v>
                </c:pt>
                <c:pt idx="855">
                  <c:v>0</c:v>
                </c:pt>
                <c:pt idx="856">
                  <c:v>0</c:v>
                </c:pt>
                <c:pt idx="857">
                  <c:v>0</c:v>
                </c:pt>
                <c:pt idx="858">
                  <c:v>0</c:v>
                </c:pt>
                <c:pt idx="859">
                  <c:v>0</c:v>
                </c:pt>
                <c:pt idx="860">
                  <c:v>0</c:v>
                </c:pt>
                <c:pt idx="861">
                  <c:v>0</c:v>
                </c:pt>
                <c:pt idx="862">
                  <c:v>0</c:v>
                </c:pt>
                <c:pt idx="863">
                  <c:v>0</c:v>
                </c:pt>
                <c:pt idx="864">
                  <c:v>0</c:v>
                </c:pt>
                <c:pt idx="865">
                  <c:v>0</c:v>
                </c:pt>
                <c:pt idx="866">
                  <c:v>0</c:v>
                </c:pt>
                <c:pt idx="867">
                  <c:v>0</c:v>
                </c:pt>
                <c:pt idx="868">
                  <c:v>0</c:v>
                </c:pt>
                <c:pt idx="869">
                  <c:v>0</c:v>
                </c:pt>
                <c:pt idx="870">
                  <c:v>0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0</c:v>
                </c:pt>
                <c:pt idx="875">
                  <c:v>0</c:v>
                </c:pt>
                <c:pt idx="876">
                  <c:v>0</c:v>
                </c:pt>
                <c:pt idx="877">
                  <c:v>0</c:v>
                </c:pt>
                <c:pt idx="878">
                  <c:v>0</c:v>
                </c:pt>
                <c:pt idx="879">
                  <c:v>0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0</c:v>
                </c:pt>
                <c:pt idx="884">
                  <c:v>0</c:v>
                </c:pt>
                <c:pt idx="885">
                  <c:v>0</c:v>
                </c:pt>
                <c:pt idx="886">
                  <c:v>0</c:v>
                </c:pt>
                <c:pt idx="887">
                  <c:v>0</c:v>
                </c:pt>
                <c:pt idx="888">
                  <c:v>0</c:v>
                </c:pt>
                <c:pt idx="889">
                  <c:v>0</c:v>
                </c:pt>
                <c:pt idx="890">
                  <c:v>0</c:v>
                </c:pt>
                <c:pt idx="891">
                  <c:v>0</c:v>
                </c:pt>
                <c:pt idx="892">
                  <c:v>0</c:v>
                </c:pt>
                <c:pt idx="893">
                  <c:v>0</c:v>
                </c:pt>
                <c:pt idx="894">
                  <c:v>0</c:v>
                </c:pt>
                <c:pt idx="895">
                  <c:v>0</c:v>
                </c:pt>
                <c:pt idx="896">
                  <c:v>0</c:v>
                </c:pt>
                <c:pt idx="897">
                  <c:v>0</c:v>
                </c:pt>
                <c:pt idx="898">
                  <c:v>0</c:v>
                </c:pt>
                <c:pt idx="899">
                  <c:v>0</c:v>
                </c:pt>
                <c:pt idx="900">
                  <c:v>33.5</c:v>
                </c:pt>
                <c:pt idx="901">
                  <c:v>37.200000000000003</c:v>
                </c:pt>
                <c:pt idx="902">
                  <c:v>42.4</c:v>
                </c:pt>
                <c:pt idx="903">
                  <c:v>48.6</c:v>
                </c:pt>
                <c:pt idx="904">
                  <c:v>57.1</c:v>
                </c:pt>
                <c:pt idx="905">
                  <c:v>65.099999999999994</c:v>
                </c:pt>
                <c:pt idx="906">
                  <c:v>74</c:v>
                </c:pt>
                <c:pt idx="907">
                  <c:v>83.7</c:v>
                </c:pt>
                <c:pt idx="908">
                  <c:v>92</c:v>
                </c:pt>
                <c:pt idx="909">
                  <c:v>100</c:v>
                </c:pt>
                <c:pt idx="910">
                  <c:v>33.799999999999997</c:v>
                </c:pt>
                <c:pt idx="911">
                  <c:v>37.200000000000003</c:v>
                </c:pt>
                <c:pt idx="912">
                  <c:v>41.8</c:v>
                </c:pt>
                <c:pt idx="913">
                  <c:v>49.3</c:v>
                </c:pt>
                <c:pt idx="914">
                  <c:v>55.9</c:v>
                </c:pt>
                <c:pt idx="915">
                  <c:v>64.5</c:v>
                </c:pt>
                <c:pt idx="916">
                  <c:v>73.900000000000006</c:v>
                </c:pt>
                <c:pt idx="917">
                  <c:v>82.9</c:v>
                </c:pt>
                <c:pt idx="918">
                  <c:v>91.5</c:v>
                </c:pt>
                <c:pt idx="919">
                  <c:v>99.4</c:v>
                </c:pt>
                <c:pt idx="920">
                  <c:v>53.1</c:v>
                </c:pt>
                <c:pt idx="921">
                  <c:v>55.7</c:v>
                </c:pt>
                <c:pt idx="922">
                  <c:v>58.5</c:v>
                </c:pt>
                <c:pt idx="923">
                  <c:v>63.5</c:v>
                </c:pt>
                <c:pt idx="924">
                  <c:v>70.7</c:v>
                </c:pt>
                <c:pt idx="925">
                  <c:v>78.8</c:v>
                </c:pt>
                <c:pt idx="926">
                  <c:v>85</c:v>
                </c:pt>
                <c:pt idx="927">
                  <c:v>91</c:v>
                </c:pt>
                <c:pt idx="928">
                  <c:v>92.9</c:v>
                </c:pt>
                <c:pt idx="929">
                  <c:v>100.2</c:v>
                </c:pt>
                <c:pt idx="930">
                  <c:v>91.2</c:v>
                </c:pt>
                <c:pt idx="931">
                  <c:v>84.1</c:v>
                </c:pt>
                <c:pt idx="932">
                  <c:v>99.9</c:v>
                </c:pt>
                <c:pt idx="933">
                  <c:v>54</c:v>
                </c:pt>
                <c:pt idx="934">
                  <c:v>54.4</c:v>
                </c:pt>
                <c:pt idx="935">
                  <c:v>54.6</c:v>
                </c:pt>
                <c:pt idx="936">
                  <c:v>54.3</c:v>
                </c:pt>
                <c:pt idx="937">
                  <c:v>50.1</c:v>
                </c:pt>
                <c:pt idx="938">
                  <c:v>49.8</c:v>
                </c:pt>
                <c:pt idx="939">
                  <c:v>49.9</c:v>
                </c:pt>
                <c:pt idx="940">
                  <c:v>49.7</c:v>
                </c:pt>
                <c:pt idx="941">
                  <c:v>10.6</c:v>
                </c:pt>
                <c:pt idx="942">
                  <c:v>20.2</c:v>
                </c:pt>
                <c:pt idx="943">
                  <c:v>31.2</c:v>
                </c:pt>
                <c:pt idx="944">
                  <c:v>30.6</c:v>
                </c:pt>
                <c:pt idx="945">
                  <c:v>40.299999999999997</c:v>
                </c:pt>
                <c:pt idx="946">
                  <c:v>50.1</c:v>
                </c:pt>
                <c:pt idx="947">
                  <c:v>60.4</c:v>
                </c:pt>
                <c:pt idx="948">
                  <c:v>70.599999999999994</c:v>
                </c:pt>
                <c:pt idx="949">
                  <c:v>79.599999999999994</c:v>
                </c:pt>
                <c:pt idx="950">
                  <c:v>90.1</c:v>
                </c:pt>
                <c:pt idx="951">
                  <c:v>98.8</c:v>
                </c:pt>
                <c:pt idx="952">
                  <c:v>38.4</c:v>
                </c:pt>
                <c:pt idx="953">
                  <c:v>66.3</c:v>
                </c:pt>
                <c:pt idx="954">
                  <c:v>78</c:v>
                </c:pt>
                <c:pt idx="955">
                  <c:v>54.2</c:v>
                </c:pt>
                <c:pt idx="956">
                  <c:v>89</c:v>
                </c:pt>
                <c:pt idx="957">
                  <c:v>87.3</c:v>
                </c:pt>
                <c:pt idx="958">
                  <c:v>88</c:v>
                </c:pt>
                <c:pt idx="959">
                  <c:v>87.8</c:v>
                </c:pt>
                <c:pt idx="960">
                  <c:v>87.4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0</c:v>
                </c:pt>
                <c:pt idx="993">
                  <c:v>0</c:v>
                </c:pt>
                <c:pt idx="994">
                  <c:v>0</c:v>
                </c:pt>
                <c:pt idx="995">
                  <c:v>0</c:v>
                </c:pt>
                <c:pt idx="996">
                  <c:v>0</c:v>
                </c:pt>
                <c:pt idx="997">
                  <c:v>0</c:v>
                </c:pt>
                <c:pt idx="998">
                  <c:v>0</c:v>
                </c:pt>
                <c:pt idx="999">
                  <c:v>0</c:v>
                </c:pt>
                <c:pt idx="1000">
                  <c:v>51.9</c:v>
                </c:pt>
                <c:pt idx="1001">
                  <c:v>78.7</c:v>
                </c:pt>
                <c:pt idx="1002">
                  <c:v>39.799999999999997</c:v>
                </c:pt>
                <c:pt idx="1003">
                  <c:v>44.4</c:v>
                </c:pt>
                <c:pt idx="1004">
                  <c:v>51.2</c:v>
                </c:pt>
                <c:pt idx="1005">
                  <c:v>58.7</c:v>
                </c:pt>
                <c:pt idx="1006">
                  <c:v>66.2</c:v>
                </c:pt>
                <c:pt idx="1007">
                  <c:v>74.7</c:v>
                </c:pt>
                <c:pt idx="1008">
                  <c:v>83.8</c:v>
                </c:pt>
                <c:pt idx="1009">
                  <c:v>93.4</c:v>
                </c:pt>
                <c:pt idx="1010">
                  <c:v>57.9</c:v>
                </c:pt>
                <c:pt idx="1011">
                  <c:v>56.9</c:v>
                </c:pt>
                <c:pt idx="1012">
                  <c:v>58.2</c:v>
                </c:pt>
                <c:pt idx="1013">
                  <c:v>48.8</c:v>
                </c:pt>
                <c:pt idx="1014">
                  <c:v>41.1</c:v>
                </c:pt>
                <c:pt idx="1015">
                  <c:v>36.799999999999997</c:v>
                </c:pt>
                <c:pt idx="1016">
                  <c:v>29.9</c:v>
                </c:pt>
                <c:pt idx="1017">
                  <c:v>9.8000000000000007</c:v>
                </c:pt>
                <c:pt idx="1018">
                  <c:v>89.1</c:v>
                </c:pt>
                <c:pt idx="1019">
                  <c:v>19.2</c:v>
                </c:pt>
                <c:pt idx="1020">
                  <c:v>30.9</c:v>
                </c:pt>
                <c:pt idx="1021">
                  <c:v>41</c:v>
                </c:pt>
                <c:pt idx="1022">
                  <c:v>50.2</c:v>
                </c:pt>
                <c:pt idx="1023">
                  <c:v>60</c:v>
                </c:pt>
                <c:pt idx="1024">
                  <c:v>70.099999999999994</c:v>
                </c:pt>
                <c:pt idx="1025">
                  <c:v>81.599999999999994</c:v>
                </c:pt>
                <c:pt idx="1026">
                  <c:v>60.9</c:v>
                </c:pt>
                <c:pt idx="1027">
                  <c:v>63.2</c:v>
                </c:pt>
                <c:pt idx="1028">
                  <c:v>67.5</c:v>
                </c:pt>
                <c:pt idx="1029">
                  <c:v>71.900000000000006</c:v>
                </c:pt>
                <c:pt idx="1030">
                  <c:v>77.599999999999994</c:v>
                </c:pt>
                <c:pt idx="1031">
                  <c:v>84.1</c:v>
                </c:pt>
                <c:pt idx="1032">
                  <c:v>90.6</c:v>
                </c:pt>
                <c:pt idx="1033">
                  <c:v>98</c:v>
                </c:pt>
                <c:pt idx="1034">
                  <c:v>80.5</c:v>
                </c:pt>
                <c:pt idx="1035">
                  <c:v>52.6</c:v>
                </c:pt>
                <c:pt idx="1036">
                  <c:v>56.1</c:v>
                </c:pt>
                <c:pt idx="1037">
                  <c:v>61.8</c:v>
                </c:pt>
                <c:pt idx="1038">
                  <c:v>67.400000000000006</c:v>
                </c:pt>
                <c:pt idx="1039">
                  <c:v>73.5</c:v>
                </c:pt>
                <c:pt idx="1040">
                  <c:v>88.3</c:v>
                </c:pt>
                <c:pt idx="1041">
                  <c:v>97.5</c:v>
                </c:pt>
                <c:pt idx="1042">
                  <c:v>93.2</c:v>
                </c:pt>
                <c:pt idx="1043">
                  <c:v>43.7</c:v>
                </c:pt>
                <c:pt idx="1044">
                  <c:v>48.2</c:v>
                </c:pt>
                <c:pt idx="1045">
                  <c:v>54.3</c:v>
                </c:pt>
                <c:pt idx="1046">
                  <c:v>60.3</c:v>
                </c:pt>
                <c:pt idx="1047">
                  <c:v>68.3</c:v>
                </c:pt>
                <c:pt idx="1048">
                  <c:v>75.7</c:v>
                </c:pt>
                <c:pt idx="1049">
                  <c:v>84.7</c:v>
                </c:pt>
                <c:pt idx="1050">
                  <c:v>32.299999999999997</c:v>
                </c:pt>
                <c:pt idx="1051">
                  <c:v>37.799999999999997</c:v>
                </c:pt>
                <c:pt idx="1052">
                  <c:v>45.5</c:v>
                </c:pt>
                <c:pt idx="1053">
                  <c:v>53.1</c:v>
                </c:pt>
                <c:pt idx="1054">
                  <c:v>62.2</c:v>
                </c:pt>
                <c:pt idx="1055">
                  <c:v>71.5</c:v>
                </c:pt>
                <c:pt idx="1056">
                  <c:v>80.900000000000006</c:v>
                </c:pt>
                <c:pt idx="1057">
                  <c:v>91</c:v>
                </c:pt>
                <c:pt idx="1058">
                  <c:v>58.1</c:v>
                </c:pt>
                <c:pt idx="1059">
                  <c:v>48.9</c:v>
                </c:pt>
                <c:pt idx="1060">
                  <c:v>48.8</c:v>
                </c:pt>
                <c:pt idx="1061">
                  <c:v>41.8</c:v>
                </c:pt>
                <c:pt idx="1062">
                  <c:v>31.3</c:v>
                </c:pt>
                <c:pt idx="1063">
                  <c:v>28.5</c:v>
                </c:pt>
                <c:pt idx="1064">
                  <c:v>23.5</c:v>
                </c:pt>
                <c:pt idx="1065">
                  <c:v>7.5</c:v>
                </c:pt>
                <c:pt idx="1066">
                  <c:v>19.8</c:v>
                </c:pt>
                <c:pt idx="1067">
                  <c:v>30</c:v>
                </c:pt>
                <c:pt idx="1068">
                  <c:v>40.5</c:v>
                </c:pt>
                <c:pt idx="1069">
                  <c:v>50.6</c:v>
                </c:pt>
                <c:pt idx="1070">
                  <c:v>60.9</c:v>
                </c:pt>
                <c:pt idx="1071">
                  <c:v>70.599999999999994</c:v>
                </c:pt>
                <c:pt idx="1072">
                  <c:v>90.6</c:v>
                </c:pt>
                <c:pt idx="1073">
                  <c:v>80.599999999999994</c:v>
                </c:pt>
                <c:pt idx="1074">
                  <c:v>59.4</c:v>
                </c:pt>
                <c:pt idx="1075">
                  <c:v>83.3</c:v>
                </c:pt>
                <c:pt idx="1076">
                  <c:v>94.7</c:v>
                </c:pt>
                <c:pt idx="1077">
                  <c:v>49</c:v>
                </c:pt>
                <c:pt idx="1078">
                  <c:v>52.3</c:v>
                </c:pt>
                <c:pt idx="1079">
                  <c:v>56.9</c:v>
                </c:pt>
                <c:pt idx="1080">
                  <c:v>63.2</c:v>
                </c:pt>
                <c:pt idx="1081">
                  <c:v>69.8</c:v>
                </c:pt>
                <c:pt idx="1082">
                  <c:v>78.400000000000006</c:v>
                </c:pt>
                <c:pt idx="1083">
                  <c:v>86.3</c:v>
                </c:pt>
                <c:pt idx="1084">
                  <c:v>37.799999999999997</c:v>
                </c:pt>
                <c:pt idx="1085">
                  <c:v>42.7</c:v>
                </c:pt>
                <c:pt idx="1086">
                  <c:v>48.9</c:v>
                </c:pt>
                <c:pt idx="1087">
                  <c:v>56.4</c:v>
                </c:pt>
                <c:pt idx="1088">
                  <c:v>65.099999999999994</c:v>
                </c:pt>
                <c:pt idx="1089">
                  <c:v>73.3</c:v>
                </c:pt>
                <c:pt idx="1090">
                  <c:v>82.5</c:v>
                </c:pt>
                <c:pt idx="1091">
                  <c:v>91.2</c:v>
                </c:pt>
                <c:pt idx="1092">
                  <c:v>58.3</c:v>
                </c:pt>
                <c:pt idx="1093">
                  <c:v>58.7</c:v>
                </c:pt>
                <c:pt idx="1094">
                  <c:v>56.5</c:v>
                </c:pt>
                <c:pt idx="1095">
                  <c:v>46.3</c:v>
                </c:pt>
                <c:pt idx="1096">
                  <c:v>38.299999999999997</c:v>
                </c:pt>
                <c:pt idx="1097">
                  <c:v>0</c:v>
                </c:pt>
                <c:pt idx="1098">
                  <c:v>0</c:v>
                </c:pt>
                <c:pt idx="1099">
                  <c:v>0</c:v>
                </c:pt>
                <c:pt idx="1100">
                  <c:v>50.2</c:v>
                </c:pt>
                <c:pt idx="1101">
                  <c:v>53.3</c:v>
                </c:pt>
                <c:pt idx="1102">
                  <c:v>52.9</c:v>
                </c:pt>
                <c:pt idx="1103">
                  <c:v>58.6</c:v>
                </c:pt>
                <c:pt idx="1104">
                  <c:v>62</c:v>
                </c:pt>
                <c:pt idx="1105">
                  <c:v>67.599999999999994</c:v>
                </c:pt>
                <c:pt idx="1106">
                  <c:v>75.8</c:v>
                </c:pt>
                <c:pt idx="1107">
                  <c:v>83.3</c:v>
                </c:pt>
                <c:pt idx="1108">
                  <c:v>92.3</c:v>
                </c:pt>
                <c:pt idx="1109">
                  <c:v>100.9</c:v>
                </c:pt>
                <c:pt idx="1110">
                  <c:v>34.1</c:v>
                </c:pt>
                <c:pt idx="1111">
                  <c:v>46.1</c:v>
                </c:pt>
                <c:pt idx="1112">
                  <c:v>47.6</c:v>
                </c:pt>
                <c:pt idx="1113">
                  <c:v>40.700000000000003</c:v>
                </c:pt>
                <c:pt idx="1114">
                  <c:v>37.700000000000003</c:v>
                </c:pt>
                <c:pt idx="1115">
                  <c:v>52.2</c:v>
                </c:pt>
                <c:pt idx="1116">
                  <c:v>46.9</c:v>
                </c:pt>
                <c:pt idx="1117">
                  <c:v>37.9</c:v>
                </c:pt>
                <c:pt idx="1118">
                  <c:v>45.7</c:v>
                </c:pt>
                <c:pt idx="1119">
                  <c:v>44.8</c:v>
                </c:pt>
                <c:pt idx="1120">
                  <c:v>51.4</c:v>
                </c:pt>
                <c:pt idx="1121">
                  <c:v>53.1</c:v>
                </c:pt>
                <c:pt idx="1122">
                  <c:v>58.9</c:v>
                </c:pt>
                <c:pt idx="1123">
                  <c:v>57.7</c:v>
                </c:pt>
                <c:pt idx="1124">
                  <c:v>65.5</c:v>
                </c:pt>
                <c:pt idx="1125">
                  <c:v>64.599999999999994</c:v>
                </c:pt>
                <c:pt idx="1126">
                  <c:v>70.7</c:v>
                </c:pt>
                <c:pt idx="1127">
                  <c:v>70.599999999999994</c:v>
                </c:pt>
                <c:pt idx="1128">
                  <c:v>78.8</c:v>
                </c:pt>
                <c:pt idx="1129">
                  <c:v>102.5</c:v>
                </c:pt>
                <c:pt idx="1130">
                  <c:v>14.6</c:v>
                </c:pt>
                <c:pt idx="1131">
                  <c:v>21.5</c:v>
                </c:pt>
                <c:pt idx="1132">
                  <c:v>30.4</c:v>
                </c:pt>
                <c:pt idx="1133">
                  <c:v>40.200000000000003</c:v>
                </c:pt>
                <c:pt idx="1134">
                  <c:v>50</c:v>
                </c:pt>
                <c:pt idx="1135">
                  <c:v>59.7</c:v>
                </c:pt>
                <c:pt idx="1136">
                  <c:v>70</c:v>
                </c:pt>
                <c:pt idx="1137">
                  <c:v>79.099999999999994</c:v>
                </c:pt>
                <c:pt idx="1138">
                  <c:v>89.4</c:v>
                </c:pt>
                <c:pt idx="1139">
                  <c:v>99.1</c:v>
                </c:pt>
                <c:pt idx="1140">
                  <c:v>0</c:v>
                </c:pt>
                <c:pt idx="1141">
                  <c:v>0</c:v>
                </c:pt>
                <c:pt idx="1142">
                  <c:v>0</c:v>
                </c:pt>
                <c:pt idx="1143">
                  <c:v>0</c:v>
                </c:pt>
                <c:pt idx="1144">
                  <c:v>0</c:v>
                </c:pt>
                <c:pt idx="1145">
                  <c:v>0</c:v>
                </c:pt>
                <c:pt idx="1146">
                  <c:v>0</c:v>
                </c:pt>
                <c:pt idx="1147">
                  <c:v>0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0</c:v>
                </c:pt>
                <c:pt idx="1165">
                  <c:v>0</c:v>
                </c:pt>
                <c:pt idx="1166">
                  <c:v>0</c:v>
                </c:pt>
                <c:pt idx="1167">
                  <c:v>0</c:v>
                </c:pt>
                <c:pt idx="1168">
                  <c:v>0</c:v>
                </c:pt>
                <c:pt idx="1169">
                  <c:v>0</c:v>
                </c:pt>
                <c:pt idx="1170">
                  <c:v>0</c:v>
                </c:pt>
                <c:pt idx="1171">
                  <c:v>0</c:v>
                </c:pt>
                <c:pt idx="1172">
                  <c:v>0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0</c:v>
                </c:pt>
                <c:pt idx="1177">
                  <c:v>0</c:v>
                </c:pt>
                <c:pt idx="1178">
                  <c:v>0</c:v>
                </c:pt>
                <c:pt idx="1179">
                  <c:v>0</c:v>
                </c:pt>
                <c:pt idx="1180">
                  <c:v>0</c:v>
                </c:pt>
                <c:pt idx="1181">
                  <c:v>0</c:v>
                </c:pt>
                <c:pt idx="1182">
                  <c:v>0</c:v>
                </c:pt>
                <c:pt idx="1183">
                  <c:v>0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0</c:v>
                </c:pt>
                <c:pt idx="1189">
                  <c:v>0</c:v>
                </c:pt>
                <c:pt idx="1190">
                  <c:v>0</c:v>
                </c:pt>
                <c:pt idx="1191">
                  <c:v>0</c:v>
                </c:pt>
                <c:pt idx="1192">
                  <c:v>0</c:v>
                </c:pt>
                <c:pt idx="1193">
                  <c:v>0</c:v>
                </c:pt>
                <c:pt idx="1194">
                  <c:v>0</c:v>
                </c:pt>
                <c:pt idx="1195">
                  <c:v>0</c:v>
                </c:pt>
                <c:pt idx="1196">
                  <c:v>0</c:v>
                </c:pt>
                <c:pt idx="1197">
                  <c:v>0</c:v>
                </c:pt>
                <c:pt idx="1198">
                  <c:v>0</c:v>
                </c:pt>
                <c:pt idx="1199">
                  <c:v>0</c:v>
                </c:pt>
                <c:pt idx="1200">
                  <c:v>0</c:v>
                </c:pt>
                <c:pt idx="1201">
                  <c:v>0</c:v>
                </c:pt>
                <c:pt idx="1202">
                  <c:v>0</c:v>
                </c:pt>
                <c:pt idx="1203">
                  <c:v>0</c:v>
                </c:pt>
                <c:pt idx="1204">
                  <c:v>0</c:v>
                </c:pt>
                <c:pt idx="1205">
                  <c:v>0</c:v>
                </c:pt>
                <c:pt idx="1206">
                  <c:v>0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0</c:v>
                </c:pt>
                <c:pt idx="1228">
                  <c:v>0</c:v>
                </c:pt>
                <c:pt idx="1229">
                  <c:v>0</c:v>
                </c:pt>
                <c:pt idx="1230">
                  <c:v>0</c:v>
                </c:pt>
                <c:pt idx="1231">
                  <c:v>0</c:v>
                </c:pt>
                <c:pt idx="1232">
                  <c:v>0</c:v>
                </c:pt>
                <c:pt idx="1233">
                  <c:v>0</c:v>
                </c:pt>
                <c:pt idx="1234">
                  <c:v>0</c:v>
                </c:pt>
                <c:pt idx="1235">
                  <c:v>0</c:v>
                </c:pt>
                <c:pt idx="1236">
                  <c:v>0</c:v>
                </c:pt>
                <c:pt idx="1237">
                  <c:v>0</c:v>
                </c:pt>
                <c:pt idx="1238">
                  <c:v>0</c:v>
                </c:pt>
                <c:pt idx="1239">
                  <c:v>0</c:v>
                </c:pt>
                <c:pt idx="1240">
                  <c:v>0</c:v>
                </c:pt>
                <c:pt idx="1241">
                  <c:v>0</c:v>
                </c:pt>
                <c:pt idx="1242">
                  <c:v>0</c:v>
                </c:pt>
                <c:pt idx="1243">
                  <c:v>0</c:v>
                </c:pt>
                <c:pt idx="1244">
                  <c:v>0</c:v>
                </c:pt>
                <c:pt idx="1245">
                  <c:v>0</c:v>
                </c:pt>
                <c:pt idx="1246">
                  <c:v>0</c:v>
                </c:pt>
                <c:pt idx="1247">
                  <c:v>0</c:v>
                </c:pt>
                <c:pt idx="1248">
                  <c:v>0</c:v>
                </c:pt>
                <c:pt idx="1249">
                  <c:v>0</c:v>
                </c:pt>
                <c:pt idx="1250">
                  <c:v>0</c:v>
                </c:pt>
                <c:pt idx="1251">
                  <c:v>0</c:v>
                </c:pt>
                <c:pt idx="1252">
                  <c:v>0</c:v>
                </c:pt>
                <c:pt idx="1253">
                  <c:v>0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0</c:v>
                </c:pt>
                <c:pt idx="1258">
                  <c:v>0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0</c:v>
                </c:pt>
                <c:pt idx="1273">
                  <c:v>0</c:v>
                </c:pt>
                <c:pt idx="1274">
                  <c:v>0</c:v>
                </c:pt>
                <c:pt idx="1275">
                  <c:v>0</c:v>
                </c:pt>
                <c:pt idx="1276">
                  <c:v>0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0</c:v>
                </c:pt>
                <c:pt idx="1282">
                  <c:v>0</c:v>
                </c:pt>
                <c:pt idx="1283">
                  <c:v>0</c:v>
                </c:pt>
                <c:pt idx="1284">
                  <c:v>0</c:v>
                </c:pt>
                <c:pt idx="1285">
                  <c:v>0</c:v>
                </c:pt>
                <c:pt idx="1286">
                  <c:v>0</c:v>
                </c:pt>
                <c:pt idx="1287">
                  <c:v>0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  <c:pt idx="1319">
                  <c:v>0</c:v>
                </c:pt>
                <c:pt idx="1320">
                  <c:v>0</c:v>
                </c:pt>
                <c:pt idx="1321">
                  <c:v>0</c:v>
                </c:pt>
                <c:pt idx="1322">
                  <c:v>0</c:v>
                </c:pt>
                <c:pt idx="1323">
                  <c:v>0</c:v>
                </c:pt>
                <c:pt idx="1324">
                  <c:v>0</c:v>
                </c:pt>
                <c:pt idx="1325">
                  <c:v>0</c:v>
                </c:pt>
                <c:pt idx="1326">
                  <c:v>0</c:v>
                </c:pt>
                <c:pt idx="1327">
                  <c:v>0</c:v>
                </c:pt>
                <c:pt idx="1328">
                  <c:v>0</c:v>
                </c:pt>
                <c:pt idx="1329">
                  <c:v>0</c:v>
                </c:pt>
                <c:pt idx="1330">
                  <c:v>0</c:v>
                </c:pt>
                <c:pt idx="1331">
                  <c:v>0</c:v>
                </c:pt>
                <c:pt idx="1332">
                  <c:v>0</c:v>
                </c:pt>
                <c:pt idx="1333">
                  <c:v>0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0</c:v>
                </c:pt>
                <c:pt idx="1338">
                  <c:v>0</c:v>
                </c:pt>
                <c:pt idx="1339">
                  <c:v>0</c:v>
                </c:pt>
                <c:pt idx="1340">
                  <c:v>0</c:v>
                </c:pt>
                <c:pt idx="1341">
                  <c:v>0</c:v>
                </c:pt>
                <c:pt idx="1342">
                  <c:v>0</c:v>
                </c:pt>
                <c:pt idx="1343">
                  <c:v>0</c:v>
                </c:pt>
                <c:pt idx="1344">
                  <c:v>0</c:v>
                </c:pt>
                <c:pt idx="1345">
                  <c:v>0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0</c:v>
                </c:pt>
                <c:pt idx="1378">
                  <c:v>0</c:v>
                </c:pt>
                <c:pt idx="1379">
                  <c:v>0</c:v>
                </c:pt>
                <c:pt idx="1380">
                  <c:v>0</c:v>
                </c:pt>
                <c:pt idx="1381">
                  <c:v>0</c:v>
                </c:pt>
                <c:pt idx="1382">
                  <c:v>0</c:v>
                </c:pt>
                <c:pt idx="1383">
                  <c:v>0</c:v>
                </c:pt>
                <c:pt idx="1384">
                  <c:v>0</c:v>
                </c:pt>
                <c:pt idx="1385">
                  <c:v>0</c:v>
                </c:pt>
                <c:pt idx="1386">
                  <c:v>0</c:v>
                </c:pt>
                <c:pt idx="1387">
                  <c:v>0</c:v>
                </c:pt>
                <c:pt idx="1388">
                  <c:v>0</c:v>
                </c:pt>
                <c:pt idx="1389">
                  <c:v>0</c:v>
                </c:pt>
                <c:pt idx="1390">
                  <c:v>0</c:v>
                </c:pt>
                <c:pt idx="1391">
                  <c:v>0</c:v>
                </c:pt>
                <c:pt idx="1392">
                  <c:v>0</c:v>
                </c:pt>
                <c:pt idx="1393">
                  <c:v>0</c:v>
                </c:pt>
                <c:pt idx="1394">
                  <c:v>0</c:v>
                </c:pt>
                <c:pt idx="1395">
                  <c:v>0</c:v>
                </c:pt>
                <c:pt idx="1396">
                  <c:v>0</c:v>
                </c:pt>
                <c:pt idx="1397">
                  <c:v>0</c:v>
                </c:pt>
                <c:pt idx="1398">
                  <c:v>0</c:v>
                </c:pt>
                <c:pt idx="1399">
                  <c:v>0</c:v>
                </c:pt>
                <c:pt idx="1400">
                  <c:v>0</c:v>
                </c:pt>
                <c:pt idx="1401">
                  <c:v>0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0</c:v>
                </c:pt>
                <c:pt idx="1415">
                  <c:v>0</c:v>
                </c:pt>
                <c:pt idx="1416">
                  <c:v>0</c:v>
                </c:pt>
                <c:pt idx="1417">
                  <c:v>0</c:v>
                </c:pt>
                <c:pt idx="1418">
                  <c:v>0</c:v>
                </c:pt>
                <c:pt idx="1419">
                  <c:v>0</c:v>
                </c:pt>
                <c:pt idx="1420">
                  <c:v>0</c:v>
                </c:pt>
                <c:pt idx="1421">
                  <c:v>0</c:v>
                </c:pt>
                <c:pt idx="1422">
                  <c:v>0</c:v>
                </c:pt>
                <c:pt idx="1423">
                  <c:v>0</c:v>
                </c:pt>
                <c:pt idx="1424">
                  <c:v>0</c:v>
                </c:pt>
                <c:pt idx="1425">
                  <c:v>0</c:v>
                </c:pt>
                <c:pt idx="1426">
                  <c:v>0</c:v>
                </c:pt>
                <c:pt idx="1427">
                  <c:v>0</c:v>
                </c:pt>
                <c:pt idx="1428">
                  <c:v>0</c:v>
                </c:pt>
                <c:pt idx="1429">
                  <c:v>0</c:v>
                </c:pt>
                <c:pt idx="1430">
                  <c:v>0</c:v>
                </c:pt>
                <c:pt idx="1431">
                  <c:v>0</c:v>
                </c:pt>
                <c:pt idx="1432">
                  <c:v>0</c:v>
                </c:pt>
                <c:pt idx="1433">
                  <c:v>0</c:v>
                </c:pt>
                <c:pt idx="1434">
                  <c:v>0</c:v>
                </c:pt>
                <c:pt idx="1435">
                  <c:v>0</c:v>
                </c:pt>
                <c:pt idx="1436">
                  <c:v>0</c:v>
                </c:pt>
                <c:pt idx="1437">
                  <c:v>0</c:v>
                </c:pt>
                <c:pt idx="1438">
                  <c:v>0</c:v>
                </c:pt>
                <c:pt idx="1439">
                  <c:v>0</c:v>
                </c:pt>
                <c:pt idx="1440">
                  <c:v>0</c:v>
                </c:pt>
                <c:pt idx="1441">
                  <c:v>0</c:v>
                </c:pt>
                <c:pt idx="1442">
                  <c:v>0</c:v>
                </c:pt>
                <c:pt idx="1443">
                  <c:v>0</c:v>
                </c:pt>
                <c:pt idx="1444">
                  <c:v>0</c:v>
                </c:pt>
                <c:pt idx="1445">
                  <c:v>0</c:v>
                </c:pt>
                <c:pt idx="1446">
                  <c:v>0</c:v>
                </c:pt>
                <c:pt idx="1447">
                  <c:v>0</c:v>
                </c:pt>
                <c:pt idx="1448">
                  <c:v>0</c:v>
                </c:pt>
                <c:pt idx="1449">
                  <c:v>0</c:v>
                </c:pt>
                <c:pt idx="1450">
                  <c:v>0</c:v>
                </c:pt>
                <c:pt idx="1451">
                  <c:v>0</c:v>
                </c:pt>
                <c:pt idx="1452">
                  <c:v>0</c:v>
                </c:pt>
                <c:pt idx="1453">
                  <c:v>0</c:v>
                </c:pt>
                <c:pt idx="1454">
                  <c:v>0</c:v>
                </c:pt>
                <c:pt idx="1455">
                  <c:v>0</c:v>
                </c:pt>
                <c:pt idx="1456">
                  <c:v>0</c:v>
                </c:pt>
                <c:pt idx="1457">
                  <c:v>0</c:v>
                </c:pt>
                <c:pt idx="1458">
                  <c:v>0</c:v>
                </c:pt>
                <c:pt idx="1459">
                  <c:v>0</c:v>
                </c:pt>
                <c:pt idx="1460">
                  <c:v>0</c:v>
                </c:pt>
                <c:pt idx="1461">
                  <c:v>0</c:v>
                </c:pt>
                <c:pt idx="1462">
                  <c:v>0</c:v>
                </c:pt>
                <c:pt idx="1463">
                  <c:v>0</c:v>
                </c:pt>
                <c:pt idx="1464">
                  <c:v>0</c:v>
                </c:pt>
                <c:pt idx="1465">
                  <c:v>0</c:v>
                </c:pt>
                <c:pt idx="1466">
                  <c:v>0</c:v>
                </c:pt>
                <c:pt idx="1467">
                  <c:v>0</c:v>
                </c:pt>
                <c:pt idx="1468">
                  <c:v>0</c:v>
                </c:pt>
                <c:pt idx="1469">
                  <c:v>0</c:v>
                </c:pt>
                <c:pt idx="1470">
                  <c:v>0</c:v>
                </c:pt>
                <c:pt idx="1471">
                  <c:v>0</c:v>
                </c:pt>
                <c:pt idx="1472">
                  <c:v>0</c:v>
                </c:pt>
                <c:pt idx="1473">
                  <c:v>0</c:v>
                </c:pt>
                <c:pt idx="1474">
                  <c:v>0</c:v>
                </c:pt>
                <c:pt idx="1475">
                  <c:v>0</c:v>
                </c:pt>
                <c:pt idx="1476">
                  <c:v>0</c:v>
                </c:pt>
                <c:pt idx="1477">
                  <c:v>0</c:v>
                </c:pt>
                <c:pt idx="1478">
                  <c:v>0</c:v>
                </c:pt>
                <c:pt idx="1479">
                  <c:v>0</c:v>
                </c:pt>
                <c:pt idx="1480">
                  <c:v>0</c:v>
                </c:pt>
                <c:pt idx="1481">
                  <c:v>0</c:v>
                </c:pt>
                <c:pt idx="1482">
                  <c:v>0</c:v>
                </c:pt>
                <c:pt idx="1483">
                  <c:v>0</c:v>
                </c:pt>
                <c:pt idx="1484">
                  <c:v>0</c:v>
                </c:pt>
                <c:pt idx="1485">
                  <c:v>0</c:v>
                </c:pt>
                <c:pt idx="1486">
                  <c:v>0</c:v>
                </c:pt>
                <c:pt idx="1487">
                  <c:v>0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0</c:v>
                </c:pt>
                <c:pt idx="1506">
                  <c:v>0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0</c:v>
                </c:pt>
                <c:pt idx="1512">
                  <c:v>0</c:v>
                </c:pt>
                <c:pt idx="1513">
                  <c:v>0</c:v>
                </c:pt>
                <c:pt idx="1514">
                  <c:v>0</c:v>
                </c:pt>
                <c:pt idx="1515">
                  <c:v>0</c:v>
                </c:pt>
                <c:pt idx="1516">
                  <c:v>0</c:v>
                </c:pt>
                <c:pt idx="1517">
                  <c:v>0</c:v>
                </c:pt>
                <c:pt idx="1518">
                  <c:v>0</c:v>
                </c:pt>
                <c:pt idx="1519">
                  <c:v>0</c:v>
                </c:pt>
                <c:pt idx="1520">
                  <c:v>0</c:v>
                </c:pt>
                <c:pt idx="1521">
                  <c:v>0</c:v>
                </c:pt>
                <c:pt idx="1522">
                  <c:v>0</c:v>
                </c:pt>
                <c:pt idx="1523">
                  <c:v>0</c:v>
                </c:pt>
                <c:pt idx="1524">
                  <c:v>0</c:v>
                </c:pt>
                <c:pt idx="1525">
                  <c:v>0</c:v>
                </c:pt>
                <c:pt idx="1526">
                  <c:v>0</c:v>
                </c:pt>
                <c:pt idx="1527">
                  <c:v>0</c:v>
                </c:pt>
                <c:pt idx="1528">
                  <c:v>0</c:v>
                </c:pt>
                <c:pt idx="1529">
                  <c:v>0</c:v>
                </c:pt>
                <c:pt idx="1530">
                  <c:v>0</c:v>
                </c:pt>
                <c:pt idx="1531">
                  <c:v>0</c:v>
                </c:pt>
                <c:pt idx="1532">
                  <c:v>0</c:v>
                </c:pt>
                <c:pt idx="1533">
                  <c:v>0</c:v>
                </c:pt>
                <c:pt idx="1534">
                  <c:v>0</c:v>
                </c:pt>
                <c:pt idx="1535">
                  <c:v>0</c:v>
                </c:pt>
                <c:pt idx="1536">
                  <c:v>0</c:v>
                </c:pt>
                <c:pt idx="1537">
                  <c:v>0</c:v>
                </c:pt>
                <c:pt idx="1538">
                  <c:v>0</c:v>
                </c:pt>
                <c:pt idx="1539">
                  <c:v>0</c:v>
                </c:pt>
                <c:pt idx="1540">
                  <c:v>0</c:v>
                </c:pt>
                <c:pt idx="1541">
                  <c:v>0</c:v>
                </c:pt>
                <c:pt idx="1542">
                  <c:v>0</c:v>
                </c:pt>
                <c:pt idx="1543">
                  <c:v>0</c:v>
                </c:pt>
                <c:pt idx="1544">
                  <c:v>0</c:v>
                </c:pt>
                <c:pt idx="1545">
                  <c:v>0</c:v>
                </c:pt>
                <c:pt idx="1546">
                  <c:v>0</c:v>
                </c:pt>
                <c:pt idx="1547">
                  <c:v>0</c:v>
                </c:pt>
                <c:pt idx="1548">
                  <c:v>0</c:v>
                </c:pt>
                <c:pt idx="1549">
                  <c:v>0</c:v>
                </c:pt>
                <c:pt idx="1550">
                  <c:v>0</c:v>
                </c:pt>
                <c:pt idx="1551">
                  <c:v>0</c:v>
                </c:pt>
                <c:pt idx="1552">
                  <c:v>0</c:v>
                </c:pt>
                <c:pt idx="1553">
                  <c:v>0</c:v>
                </c:pt>
                <c:pt idx="1554">
                  <c:v>0</c:v>
                </c:pt>
                <c:pt idx="1555">
                  <c:v>0</c:v>
                </c:pt>
                <c:pt idx="1556">
                  <c:v>0</c:v>
                </c:pt>
                <c:pt idx="1557">
                  <c:v>0</c:v>
                </c:pt>
                <c:pt idx="1558">
                  <c:v>0</c:v>
                </c:pt>
                <c:pt idx="1559">
                  <c:v>0</c:v>
                </c:pt>
                <c:pt idx="1560">
                  <c:v>0</c:v>
                </c:pt>
                <c:pt idx="1561">
                  <c:v>0</c:v>
                </c:pt>
                <c:pt idx="1562">
                  <c:v>0</c:v>
                </c:pt>
                <c:pt idx="1563">
                  <c:v>0</c:v>
                </c:pt>
                <c:pt idx="1564">
                  <c:v>0</c:v>
                </c:pt>
                <c:pt idx="1565">
                  <c:v>0</c:v>
                </c:pt>
                <c:pt idx="1566">
                  <c:v>0</c:v>
                </c:pt>
                <c:pt idx="1567">
                  <c:v>0</c:v>
                </c:pt>
                <c:pt idx="1568">
                  <c:v>0</c:v>
                </c:pt>
                <c:pt idx="1569">
                  <c:v>0</c:v>
                </c:pt>
                <c:pt idx="1570">
                  <c:v>0</c:v>
                </c:pt>
                <c:pt idx="1571">
                  <c:v>0</c:v>
                </c:pt>
                <c:pt idx="1572">
                  <c:v>0</c:v>
                </c:pt>
                <c:pt idx="1573">
                  <c:v>0</c:v>
                </c:pt>
                <c:pt idx="1574">
                  <c:v>0</c:v>
                </c:pt>
                <c:pt idx="1575">
                  <c:v>0</c:v>
                </c:pt>
                <c:pt idx="1576">
                  <c:v>0</c:v>
                </c:pt>
                <c:pt idx="1577">
                  <c:v>0</c:v>
                </c:pt>
                <c:pt idx="1578">
                  <c:v>0</c:v>
                </c:pt>
                <c:pt idx="1579">
                  <c:v>0</c:v>
                </c:pt>
                <c:pt idx="1580">
                  <c:v>0</c:v>
                </c:pt>
                <c:pt idx="1581">
                  <c:v>0</c:v>
                </c:pt>
                <c:pt idx="1582">
                  <c:v>0</c:v>
                </c:pt>
                <c:pt idx="1583">
                  <c:v>0</c:v>
                </c:pt>
                <c:pt idx="1584">
                  <c:v>0</c:v>
                </c:pt>
                <c:pt idx="1585">
                  <c:v>0</c:v>
                </c:pt>
                <c:pt idx="1586">
                  <c:v>0</c:v>
                </c:pt>
                <c:pt idx="1587">
                  <c:v>0</c:v>
                </c:pt>
                <c:pt idx="1588">
                  <c:v>0</c:v>
                </c:pt>
                <c:pt idx="1589">
                  <c:v>0</c:v>
                </c:pt>
                <c:pt idx="1590">
                  <c:v>0</c:v>
                </c:pt>
                <c:pt idx="1591">
                  <c:v>0</c:v>
                </c:pt>
                <c:pt idx="1592">
                  <c:v>0</c:v>
                </c:pt>
                <c:pt idx="1593">
                  <c:v>0</c:v>
                </c:pt>
                <c:pt idx="1594">
                  <c:v>0</c:v>
                </c:pt>
                <c:pt idx="1595">
                  <c:v>0</c:v>
                </c:pt>
                <c:pt idx="1596">
                  <c:v>0</c:v>
                </c:pt>
                <c:pt idx="1597">
                  <c:v>0</c:v>
                </c:pt>
                <c:pt idx="1598">
                  <c:v>0</c:v>
                </c:pt>
                <c:pt idx="1599">
                  <c:v>0</c:v>
                </c:pt>
                <c:pt idx="1600">
                  <c:v>0</c:v>
                </c:pt>
                <c:pt idx="1601">
                  <c:v>0</c:v>
                </c:pt>
                <c:pt idx="1602">
                  <c:v>0</c:v>
                </c:pt>
                <c:pt idx="1603">
                  <c:v>0</c:v>
                </c:pt>
                <c:pt idx="1604">
                  <c:v>0</c:v>
                </c:pt>
                <c:pt idx="1605">
                  <c:v>0</c:v>
                </c:pt>
                <c:pt idx="1606">
                  <c:v>0</c:v>
                </c:pt>
                <c:pt idx="1607">
                  <c:v>0</c:v>
                </c:pt>
                <c:pt idx="1608">
                  <c:v>0</c:v>
                </c:pt>
                <c:pt idx="1609">
                  <c:v>0</c:v>
                </c:pt>
                <c:pt idx="1610">
                  <c:v>0</c:v>
                </c:pt>
                <c:pt idx="1611">
                  <c:v>0</c:v>
                </c:pt>
                <c:pt idx="1612">
                  <c:v>0</c:v>
                </c:pt>
                <c:pt idx="1613">
                  <c:v>0</c:v>
                </c:pt>
                <c:pt idx="1614">
                  <c:v>0</c:v>
                </c:pt>
                <c:pt idx="1615">
                  <c:v>0</c:v>
                </c:pt>
                <c:pt idx="1616">
                  <c:v>0</c:v>
                </c:pt>
                <c:pt idx="1617">
                  <c:v>0</c:v>
                </c:pt>
                <c:pt idx="1618">
                  <c:v>0</c:v>
                </c:pt>
                <c:pt idx="1619">
                  <c:v>0</c:v>
                </c:pt>
                <c:pt idx="1620">
                  <c:v>0</c:v>
                </c:pt>
                <c:pt idx="1621">
                  <c:v>0</c:v>
                </c:pt>
                <c:pt idx="1622">
                  <c:v>0</c:v>
                </c:pt>
                <c:pt idx="1623">
                  <c:v>0</c:v>
                </c:pt>
                <c:pt idx="1624">
                  <c:v>0</c:v>
                </c:pt>
                <c:pt idx="1625">
                  <c:v>0</c:v>
                </c:pt>
                <c:pt idx="1626">
                  <c:v>0</c:v>
                </c:pt>
                <c:pt idx="1627">
                  <c:v>0</c:v>
                </c:pt>
                <c:pt idx="1628">
                  <c:v>0</c:v>
                </c:pt>
                <c:pt idx="1629">
                  <c:v>0</c:v>
                </c:pt>
                <c:pt idx="1630">
                  <c:v>0</c:v>
                </c:pt>
                <c:pt idx="1631">
                  <c:v>0</c:v>
                </c:pt>
                <c:pt idx="1632">
                  <c:v>0</c:v>
                </c:pt>
                <c:pt idx="1633">
                  <c:v>0</c:v>
                </c:pt>
                <c:pt idx="1634">
                  <c:v>0</c:v>
                </c:pt>
                <c:pt idx="1635">
                  <c:v>0</c:v>
                </c:pt>
                <c:pt idx="1636">
                  <c:v>0</c:v>
                </c:pt>
                <c:pt idx="1637">
                  <c:v>0</c:v>
                </c:pt>
                <c:pt idx="1638">
                  <c:v>0</c:v>
                </c:pt>
                <c:pt idx="1639">
                  <c:v>0</c:v>
                </c:pt>
                <c:pt idx="1640">
                  <c:v>0</c:v>
                </c:pt>
                <c:pt idx="1641">
                  <c:v>0</c:v>
                </c:pt>
                <c:pt idx="1642">
                  <c:v>0</c:v>
                </c:pt>
                <c:pt idx="1643">
                  <c:v>0</c:v>
                </c:pt>
                <c:pt idx="1644">
                  <c:v>0</c:v>
                </c:pt>
                <c:pt idx="1645">
                  <c:v>0</c:v>
                </c:pt>
                <c:pt idx="1646">
                  <c:v>0</c:v>
                </c:pt>
                <c:pt idx="1647">
                  <c:v>0</c:v>
                </c:pt>
                <c:pt idx="1648">
                  <c:v>0</c:v>
                </c:pt>
                <c:pt idx="1649">
                  <c:v>0</c:v>
                </c:pt>
                <c:pt idx="1650">
                  <c:v>0</c:v>
                </c:pt>
                <c:pt idx="1651">
                  <c:v>0</c:v>
                </c:pt>
                <c:pt idx="1652">
                  <c:v>0</c:v>
                </c:pt>
                <c:pt idx="1653">
                  <c:v>0</c:v>
                </c:pt>
                <c:pt idx="1654">
                  <c:v>0</c:v>
                </c:pt>
                <c:pt idx="1655">
                  <c:v>0</c:v>
                </c:pt>
                <c:pt idx="1656">
                  <c:v>0</c:v>
                </c:pt>
                <c:pt idx="1657">
                  <c:v>0</c:v>
                </c:pt>
                <c:pt idx="1658">
                  <c:v>0</c:v>
                </c:pt>
                <c:pt idx="1659">
                  <c:v>0</c:v>
                </c:pt>
                <c:pt idx="1660">
                  <c:v>0</c:v>
                </c:pt>
                <c:pt idx="1661">
                  <c:v>0</c:v>
                </c:pt>
                <c:pt idx="1662">
                  <c:v>0</c:v>
                </c:pt>
                <c:pt idx="1663">
                  <c:v>0</c:v>
                </c:pt>
                <c:pt idx="1664">
                  <c:v>0</c:v>
                </c:pt>
                <c:pt idx="1665">
                  <c:v>0</c:v>
                </c:pt>
                <c:pt idx="1666">
                  <c:v>0</c:v>
                </c:pt>
                <c:pt idx="1667">
                  <c:v>0</c:v>
                </c:pt>
                <c:pt idx="1668">
                  <c:v>0</c:v>
                </c:pt>
                <c:pt idx="1669">
                  <c:v>0</c:v>
                </c:pt>
                <c:pt idx="1670">
                  <c:v>0</c:v>
                </c:pt>
                <c:pt idx="1671">
                  <c:v>0</c:v>
                </c:pt>
                <c:pt idx="1672">
                  <c:v>0</c:v>
                </c:pt>
                <c:pt idx="1673">
                  <c:v>0</c:v>
                </c:pt>
                <c:pt idx="1674">
                  <c:v>0</c:v>
                </c:pt>
                <c:pt idx="1675">
                  <c:v>0</c:v>
                </c:pt>
                <c:pt idx="1676">
                  <c:v>0</c:v>
                </c:pt>
                <c:pt idx="1677">
                  <c:v>0</c:v>
                </c:pt>
                <c:pt idx="1678">
                  <c:v>0</c:v>
                </c:pt>
                <c:pt idx="1679">
                  <c:v>0</c:v>
                </c:pt>
                <c:pt idx="1680">
                  <c:v>0</c:v>
                </c:pt>
                <c:pt idx="1681">
                  <c:v>0</c:v>
                </c:pt>
                <c:pt idx="1682">
                  <c:v>0</c:v>
                </c:pt>
                <c:pt idx="1683">
                  <c:v>0</c:v>
                </c:pt>
                <c:pt idx="1684">
                  <c:v>0</c:v>
                </c:pt>
                <c:pt idx="1685">
                  <c:v>0</c:v>
                </c:pt>
                <c:pt idx="1686">
                  <c:v>0</c:v>
                </c:pt>
                <c:pt idx="1687">
                  <c:v>0</c:v>
                </c:pt>
                <c:pt idx="1688">
                  <c:v>0</c:v>
                </c:pt>
                <c:pt idx="1689">
                  <c:v>0</c:v>
                </c:pt>
                <c:pt idx="1690">
                  <c:v>0</c:v>
                </c:pt>
                <c:pt idx="1691">
                  <c:v>0</c:v>
                </c:pt>
                <c:pt idx="1692">
                  <c:v>0</c:v>
                </c:pt>
                <c:pt idx="1693">
                  <c:v>0</c:v>
                </c:pt>
                <c:pt idx="1694">
                  <c:v>0</c:v>
                </c:pt>
                <c:pt idx="1695">
                  <c:v>0</c:v>
                </c:pt>
                <c:pt idx="1696">
                  <c:v>0</c:v>
                </c:pt>
                <c:pt idx="1697">
                  <c:v>0</c:v>
                </c:pt>
                <c:pt idx="1698">
                  <c:v>0</c:v>
                </c:pt>
                <c:pt idx="1699">
                  <c:v>0</c:v>
                </c:pt>
                <c:pt idx="1700">
                  <c:v>0</c:v>
                </c:pt>
                <c:pt idx="1701">
                  <c:v>0</c:v>
                </c:pt>
                <c:pt idx="1702">
                  <c:v>0</c:v>
                </c:pt>
                <c:pt idx="1703">
                  <c:v>0</c:v>
                </c:pt>
                <c:pt idx="1704">
                  <c:v>0</c:v>
                </c:pt>
                <c:pt idx="1705">
                  <c:v>0</c:v>
                </c:pt>
                <c:pt idx="1706">
                  <c:v>0</c:v>
                </c:pt>
                <c:pt idx="1707">
                  <c:v>0</c:v>
                </c:pt>
                <c:pt idx="1708">
                  <c:v>0</c:v>
                </c:pt>
                <c:pt idx="1709">
                  <c:v>0</c:v>
                </c:pt>
                <c:pt idx="1710">
                  <c:v>0</c:v>
                </c:pt>
                <c:pt idx="1711">
                  <c:v>0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0</c:v>
                </c:pt>
                <c:pt idx="1733">
                  <c:v>0</c:v>
                </c:pt>
                <c:pt idx="1734">
                  <c:v>0</c:v>
                </c:pt>
                <c:pt idx="1735">
                  <c:v>0</c:v>
                </c:pt>
                <c:pt idx="1736">
                  <c:v>0</c:v>
                </c:pt>
                <c:pt idx="1737">
                  <c:v>0</c:v>
                </c:pt>
                <c:pt idx="1738">
                  <c:v>0</c:v>
                </c:pt>
                <c:pt idx="1739">
                  <c:v>0</c:v>
                </c:pt>
                <c:pt idx="1740">
                  <c:v>0</c:v>
                </c:pt>
                <c:pt idx="1741">
                  <c:v>0</c:v>
                </c:pt>
                <c:pt idx="1742">
                  <c:v>0</c:v>
                </c:pt>
                <c:pt idx="1743">
                  <c:v>0</c:v>
                </c:pt>
                <c:pt idx="1744">
                  <c:v>0</c:v>
                </c:pt>
                <c:pt idx="1745">
                  <c:v>0</c:v>
                </c:pt>
                <c:pt idx="1746">
                  <c:v>0</c:v>
                </c:pt>
                <c:pt idx="1747">
                  <c:v>0</c:v>
                </c:pt>
                <c:pt idx="1748">
                  <c:v>0</c:v>
                </c:pt>
                <c:pt idx="1749">
                  <c:v>0</c:v>
                </c:pt>
                <c:pt idx="1750">
                  <c:v>0</c:v>
                </c:pt>
                <c:pt idx="1751">
                  <c:v>0</c:v>
                </c:pt>
                <c:pt idx="1752">
                  <c:v>0</c:v>
                </c:pt>
                <c:pt idx="1753">
                  <c:v>0</c:v>
                </c:pt>
                <c:pt idx="1754">
                  <c:v>0</c:v>
                </c:pt>
                <c:pt idx="1755">
                  <c:v>0</c:v>
                </c:pt>
                <c:pt idx="1756">
                  <c:v>0</c:v>
                </c:pt>
                <c:pt idx="1757">
                  <c:v>0</c:v>
                </c:pt>
                <c:pt idx="1758">
                  <c:v>0</c:v>
                </c:pt>
                <c:pt idx="1759">
                  <c:v>0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</c:v>
                </c:pt>
                <c:pt idx="1764">
                  <c:v>0</c:v>
                </c:pt>
                <c:pt idx="1765">
                  <c:v>0</c:v>
                </c:pt>
                <c:pt idx="1766">
                  <c:v>0</c:v>
                </c:pt>
                <c:pt idx="1767">
                  <c:v>0</c:v>
                </c:pt>
                <c:pt idx="1768">
                  <c:v>0</c:v>
                </c:pt>
                <c:pt idx="1769">
                  <c:v>0</c:v>
                </c:pt>
                <c:pt idx="1770">
                  <c:v>0</c:v>
                </c:pt>
                <c:pt idx="1771">
                  <c:v>0</c:v>
                </c:pt>
                <c:pt idx="1772">
                  <c:v>0</c:v>
                </c:pt>
                <c:pt idx="1773">
                  <c:v>0</c:v>
                </c:pt>
                <c:pt idx="1774">
                  <c:v>0</c:v>
                </c:pt>
                <c:pt idx="1775">
                  <c:v>0</c:v>
                </c:pt>
                <c:pt idx="1776">
                  <c:v>0</c:v>
                </c:pt>
                <c:pt idx="1777">
                  <c:v>0</c:v>
                </c:pt>
                <c:pt idx="1778">
                  <c:v>0</c:v>
                </c:pt>
                <c:pt idx="1779">
                  <c:v>0</c:v>
                </c:pt>
                <c:pt idx="1780">
                  <c:v>0</c:v>
                </c:pt>
                <c:pt idx="1781">
                  <c:v>0</c:v>
                </c:pt>
                <c:pt idx="1782">
                  <c:v>0</c:v>
                </c:pt>
                <c:pt idx="1783">
                  <c:v>0</c:v>
                </c:pt>
                <c:pt idx="1784">
                  <c:v>0</c:v>
                </c:pt>
                <c:pt idx="1785">
                  <c:v>0</c:v>
                </c:pt>
                <c:pt idx="1786">
                  <c:v>0</c:v>
                </c:pt>
                <c:pt idx="1787">
                  <c:v>0</c:v>
                </c:pt>
                <c:pt idx="1788">
                  <c:v>0</c:v>
                </c:pt>
                <c:pt idx="1789">
                  <c:v>0</c:v>
                </c:pt>
                <c:pt idx="1790">
                  <c:v>0</c:v>
                </c:pt>
                <c:pt idx="1791">
                  <c:v>0</c:v>
                </c:pt>
                <c:pt idx="1792">
                  <c:v>0</c:v>
                </c:pt>
                <c:pt idx="1793">
                  <c:v>0</c:v>
                </c:pt>
                <c:pt idx="1794">
                  <c:v>0</c:v>
                </c:pt>
                <c:pt idx="1795">
                  <c:v>0</c:v>
                </c:pt>
                <c:pt idx="1796">
                  <c:v>0</c:v>
                </c:pt>
                <c:pt idx="1797">
                  <c:v>0</c:v>
                </c:pt>
                <c:pt idx="1798">
                  <c:v>0</c:v>
                </c:pt>
                <c:pt idx="1799">
                  <c:v>0</c:v>
                </c:pt>
                <c:pt idx="1800">
                  <c:v>0</c:v>
                </c:pt>
                <c:pt idx="1801">
                  <c:v>0</c:v>
                </c:pt>
                <c:pt idx="1802">
                  <c:v>0</c:v>
                </c:pt>
                <c:pt idx="1803">
                  <c:v>0</c:v>
                </c:pt>
                <c:pt idx="1804">
                  <c:v>0</c:v>
                </c:pt>
                <c:pt idx="1805">
                  <c:v>0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0</c:v>
                </c:pt>
                <c:pt idx="1810">
                  <c:v>0</c:v>
                </c:pt>
                <c:pt idx="1811">
                  <c:v>0</c:v>
                </c:pt>
                <c:pt idx="1812">
                  <c:v>0</c:v>
                </c:pt>
                <c:pt idx="1813">
                  <c:v>0</c:v>
                </c:pt>
                <c:pt idx="1814">
                  <c:v>0</c:v>
                </c:pt>
                <c:pt idx="1815">
                  <c:v>0</c:v>
                </c:pt>
                <c:pt idx="1816">
                  <c:v>0</c:v>
                </c:pt>
                <c:pt idx="1817">
                  <c:v>0</c:v>
                </c:pt>
                <c:pt idx="1818">
                  <c:v>0</c:v>
                </c:pt>
                <c:pt idx="1819">
                  <c:v>0</c:v>
                </c:pt>
                <c:pt idx="1820">
                  <c:v>0</c:v>
                </c:pt>
                <c:pt idx="1821">
                  <c:v>0</c:v>
                </c:pt>
                <c:pt idx="1822">
                  <c:v>0</c:v>
                </c:pt>
                <c:pt idx="1823">
                  <c:v>0</c:v>
                </c:pt>
                <c:pt idx="1824">
                  <c:v>0</c:v>
                </c:pt>
                <c:pt idx="1825">
                  <c:v>0</c:v>
                </c:pt>
                <c:pt idx="1826">
                  <c:v>0</c:v>
                </c:pt>
                <c:pt idx="1827">
                  <c:v>0</c:v>
                </c:pt>
                <c:pt idx="1828">
                  <c:v>0</c:v>
                </c:pt>
                <c:pt idx="1829">
                  <c:v>0</c:v>
                </c:pt>
                <c:pt idx="1830">
                  <c:v>0</c:v>
                </c:pt>
                <c:pt idx="1831">
                  <c:v>0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0</c:v>
                </c:pt>
                <c:pt idx="1836">
                  <c:v>0</c:v>
                </c:pt>
                <c:pt idx="1837">
                  <c:v>0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0</c:v>
                </c:pt>
                <c:pt idx="1842">
                  <c:v>0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0</c:v>
                </c:pt>
                <c:pt idx="1864">
                  <c:v>0</c:v>
                </c:pt>
                <c:pt idx="1865">
                  <c:v>0</c:v>
                </c:pt>
                <c:pt idx="1866">
                  <c:v>0</c:v>
                </c:pt>
                <c:pt idx="1867">
                  <c:v>0</c:v>
                </c:pt>
                <c:pt idx="1868">
                  <c:v>0</c:v>
                </c:pt>
                <c:pt idx="1869">
                  <c:v>0</c:v>
                </c:pt>
                <c:pt idx="1870">
                  <c:v>0</c:v>
                </c:pt>
                <c:pt idx="1871">
                  <c:v>0</c:v>
                </c:pt>
                <c:pt idx="1872">
                  <c:v>0</c:v>
                </c:pt>
                <c:pt idx="1873">
                  <c:v>0</c:v>
                </c:pt>
                <c:pt idx="1874">
                  <c:v>0</c:v>
                </c:pt>
                <c:pt idx="1875">
                  <c:v>0</c:v>
                </c:pt>
                <c:pt idx="1876">
                  <c:v>0</c:v>
                </c:pt>
                <c:pt idx="1877">
                  <c:v>0</c:v>
                </c:pt>
                <c:pt idx="1878">
                  <c:v>0</c:v>
                </c:pt>
                <c:pt idx="1879">
                  <c:v>0</c:v>
                </c:pt>
                <c:pt idx="1880">
                  <c:v>0</c:v>
                </c:pt>
                <c:pt idx="1881">
                  <c:v>0</c:v>
                </c:pt>
                <c:pt idx="1882">
                  <c:v>0</c:v>
                </c:pt>
                <c:pt idx="1883">
                  <c:v>0</c:v>
                </c:pt>
                <c:pt idx="1884">
                  <c:v>0</c:v>
                </c:pt>
                <c:pt idx="1885">
                  <c:v>0</c:v>
                </c:pt>
                <c:pt idx="1886">
                  <c:v>0</c:v>
                </c:pt>
                <c:pt idx="1887">
                  <c:v>0</c:v>
                </c:pt>
                <c:pt idx="1888">
                  <c:v>0</c:v>
                </c:pt>
                <c:pt idx="1889">
                  <c:v>0</c:v>
                </c:pt>
                <c:pt idx="1890">
                  <c:v>0</c:v>
                </c:pt>
                <c:pt idx="1891">
                  <c:v>0</c:v>
                </c:pt>
                <c:pt idx="1892">
                  <c:v>0</c:v>
                </c:pt>
                <c:pt idx="1893">
                  <c:v>0</c:v>
                </c:pt>
                <c:pt idx="1894">
                  <c:v>0</c:v>
                </c:pt>
                <c:pt idx="1895">
                  <c:v>0</c:v>
                </c:pt>
                <c:pt idx="1896">
                  <c:v>0</c:v>
                </c:pt>
                <c:pt idx="1897">
                  <c:v>0</c:v>
                </c:pt>
                <c:pt idx="1898">
                  <c:v>0</c:v>
                </c:pt>
                <c:pt idx="1899">
                  <c:v>0</c:v>
                </c:pt>
                <c:pt idx="1900">
                  <c:v>0</c:v>
                </c:pt>
                <c:pt idx="1901">
                  <c:v>0</c:v>
                </c:pt>
                <c:pt idx="1902">
                  <c:v>0</c:v>
                </c:pt>
                <c:pt idx="1903">
                  <c:v>0</c:v>
                </c:pt>
                <c:pt idx="1904">
                  <c:v>0</c:v>
                </c:pt>
                <c:pt idx="1905">
                  <c:v>0</c:v>
                </c:pt>
                <c:pt idx="1906">
                  <c:v>0</c:v>
                </c:pt>
                <c:pt idx="1907">
                  <c:v>0</c:v>
                </c:pt>
                <c:pt idx="1908">
                  <c:v>0</c:v>
                </c:pt>
                <c:pt idx="1909">
                  <c:v>0</c:v>
                </c:pt>
                <c:pt idx="1910">
                  <c:v>0</c:v>
                </c:pt>
                <c:pt idx="1911">
                  <c:v>0</c:v>
                </c:pt>
                <c:pt idx="1912">
                  <c:v>0</c:v>
                </c:pt>
                <c:pt idx="1913">
                  <c:v>0</c:v>
                </c:pt>
                <c:pt idx="1914">
                  <c:v>0</c:v>
                </c:pt>
                <c:pt idx="1915">
                  <c:v>0</c:v>
                </c:pt>
                <c:pt idx="1916">
                  <c:v>0</c:v>
                </c:pt>
                <c:pt idx="1917">
                  <c:v>0</c:v>
                </c:pt>
                <c:pt idx="1918">
                  <c:v>0</c:v>
                </c:pt>
                <c:pt idx="1919">
                  <c:v>0</c:v>
                </c:pt>
                <c:pt idx="1920">
                  <c:v>0</c:v>
                </c:pt>
                <c:pt idx="1921">
                  <c:v>0</c:v>
                </c:pt>
                <c:pt idx="1922">
                  <c:v>0</c:v>
                </c:pt>
                <c:pt idx="1923">
                  <c:v>0</c:v>
                </c:pt>
                <c:pt idx="1924">
                  <c:v>0</c:v>
                </c:pt>
                <c:pt idx="1925">
                  <c:v>0</c:v>
                </c:pt>
                <c:pt idx="1926">
                  <c:v>0</c:v>
                </c:pt>
                <c:pt idx="1927">
                  <c:v>0</c:v>
                </c:pt>
                <c:pt idx="1928">
                  <c:v>0</c:v>
                </c:pt>
                <c:pt idx="1929">
                  <c:v>0</c:v>
                </c:pt>
                <c:pt idx="1930">
                  <c:v>0</c:v>
                </c:pt>
                <c:pt idx="1931">
                  <c:v>0</c:v>
                </c:pt>
                <c:pt idx="1932">
                  <c:v>0</c:v>
                </c:pt>
                <c:pt idx="1933">
                  <c:v>0</c:v>
                </c:pt>
                <c:pt idx="1934">
                  <c:v>0</c:v>
                </c:pt>
                <c:pt idx="1935">
                  <c:v>0</c:v>
                </c:pt>
                <c:pt idx="1936">
                  <c:v>0</c:v>
                </c:pt>
                <c:pt idx="1937">
                  <c:v>0</c:v>
                </c:pt>
                <c:pt idx="1938">
                  <c:v>0</c:v>
                </c:pt>
                <c:pt idx="1939">
                  <c:v>0</c:v>
                </c:pt>
                <c:pt idx="1940">
                  <c:v>0</c:v>
                </c:pt>
                <c:pt idx="1941">
                  <c:v>0</c:v>
                </c:pt>
                <c:pt idx="1942">
                  <c:v>0</c:v>
                </c:pt>
                <c:pt idx="1943">
                  <c:v>0</c:v>
                </c:pt>
                <c:pt idx="1944">
                  <c:v>0</c:v>
                </c:pt>
                <c:pt idx="1945">
                  <c:v>0</c:v>
                </c:pt>
                <c:pt idx="1946">
                  <c:v>0</c:v>
                </c:pt>
                <c:pt idx="1947">
                  <c:v>0</c:v>
                </c:pt>
                <c:pt idx="1948">
                  <c:v>0</c:v>
                </c:pt>
                <c:pt idx="1949">
                  <c:v>0</c:v>
                </c:pt>
                <c:pt idx="1950">
                  <c:v>0</c:v>
                </c:pt>
                <c:pt idx="1951">
                  <c:v>0</c:v>
                </c:pt>
                <c:pt idx="1952">
                  <c:v>0</c:v>
                </c:pt>
                <c:pt idx="1953">
                  <c:v>0</c:v>
                </c:pt>
                <c:pt idx="1954">
                  <c:v>0</c:v>
                </c:pt>
                <c:pt idx="1955">
                  <c:v>0</c:v>
                </c:pt>
                <c:pt idx="1956">
                  <c:v>0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0</c:v>
                </c:pt>
                <c:pt idx="1961">
                  <c:v>0</c:v>
                </c:pt>
                <c:pt idx="1962">
                  <c:v>0</c:v>
                </c:pt>
                <c:pt idx="1963">
                  <c:v>0</c:v>
                </c:pt>
                <c:pt idx="1964">
                  <c:v>0</c:v>
                </c:pt>
                <c:pt idx="1965">
                  <c:v>0</c:v>
                </c:pt>
                <c:pt idx="1966">
                  <c:v>0</c:v>
                </c:pt>
                <c:pt idx="1967">
                  <c:v>0</c:v>
                </c:pt>
                <c:pt idx="1968">
                  <c:v>0</c:v>
                </c:pt>
                <c:pt idx="1969">
                  <c:v>0</c:v>
                </c:pt>
                <c:pt idx="1970">
                  <c:v>0</c:v>
                </c:pt>
                <c:pt idx="1971">
                  <c:v>0</c:v>
                </c:pt>
                <c:pt idx="1972">
                  <c:v>0</c:v>
                </c:pt>
                <c:pt idx="1973">
                  <c:v>0</c:v>
                </c:pt>
                <c:pt idx="1974">
                  <c:v>0</c:v>
                </c:pt>
                <c:pt idx="1975">
                  <c:v>0</c:v>
                </c:pt>
                <c:pt idx="1976">
                  <c:v>0</c:v>
                </c:pt>
                <c:pt idx="1977">
                  <c:v>0</c:v>
                </c:pt>
                <c:pt idx="1978">
                  <c:v>0</c:v>
                </c:pt>
                <c:pt idx="1979">
                  <c:v>0</c:v>
                </c:pt>
                <c:pt idx="1980">
                  <c:v>0</c:v>
                </c:pt>
                <c:pt idx="1981">
                  <c:v>0</c:v>
                </c:pt>
                <c:pt idx="1982">
                  <c:v>0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0</c:v>
                </c:pt>
                <c:pt idx="1987">
                  <c:v>0</c:v>
                </c:pt>
                <c:pt idx="1988">
                  <c:v>0</c:v>
                </c:pt>
                <c:pt idx="1989">
                  <c:v>0</c:v>
                </c:pt>
                <c:pt idx="1990">
                  <c:v>0</c:v>
                </c:pt>
                <c:pt idx="1991">
                  <c:v>0</c:v>
                </c:pt>
                <c:pt idx="1992">
                  <c:v>0</c:v>
                </c:pt>
                <c:pt idx="1993">
                  <c:v>0</c:v>
                </c:pt>
                <c:pt idx="1994">
                  <c:v>0</c:v>
                </c:pt>
                <c:pt idx="1995">
                  <c:v>0</c:v>
                </c:pt>
                <c:pt idx="1996">
                  <c:v>0</c:v>
                </c:pt>
                <c:pt idx="1997">
                  <c:v>0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0</c:v>
                </c:pt>
                <c:pt idx="2009">
                  <c:v>0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</c:v>
                </c:pt>
                <c:pt idx="2015">
                  <c:v>0</c:v>
                </c:pt>
                <c:pt idx="2016">
                  <c:v>0</c:v>
                </c:pt>
                <c:pt idx="2017">
                  <c:v>0</c:v>
                </c:pt>
                <c:pt idx="2018">
                  <c:v>0</c:v>
                </c:pt>
                <c:pt idx="2019">
                  <c:v>0</c:v>
                </c:pt>
                <c:pt idx="2020">
                  <c:v>0</c:v>
                </c:pt>
                <c:pt idx="2021">
                  <c:v>0</c:v>
                </c:pt>
                <c:pt idx="2022">
                  <c:v>0</c:v>
                </c:pt>
                <c:pt idx="2023">
                  <c:v>0</c:v>
                </c:pt>
                <c:pt idx="2024">
                  <c:v>0</c:v>
                </c:pt>
                <c:pt idx="2025">
                  <c:v>0</c:v>
                </c:pt>
                <c:pt idx="2026">
                  <c:v>0</c:v>
                </c:pt>
                <c:pt idx="2027">
                  <c:v>0</c:v>
                </c:pt>
                <c:pt idx="2028">
                  <c:v>0</c:v>
                </c:pt>
                <c:pt idx="2029">
                  <c:v>0</c:v>
                </c:pt>
                <c:pt idx="2030">
                  <c:v>0</c:v>
                </c:pt>
                <c:pt idx="2031">
                  <c:v>0</c:v>
                </c:pt>
                <c:pt idx="2032">
                  <c:v>0</c:v>
                </c:pt>
                <c:pt idx="2033">
                  <c:v>0</c:v>
                </c:pt>
                <c:pt idx="2034">
                  <c:v>0</c:v>
                </c:pt>
                <c:pt idx="2035">
                  <c:v>0</c:v>
                </c:pt>
                <c:pt idx="2036">
                  <c:v>0</c:v>
                </c:pt>
                <c:pt idx="2037">
                  <c:v>0</c:v>
                </c:pt>
                <c:pt idx="2038">
                  <c:v>0</c:v>
                </c:pt>
                <c:pt idx="2039">
                  <c:v>0</c:v>
                </c:pt>
                <c:pt idx="2040">
                  <c:v>0</c:v>
                </c:pt>
                <c:pt idx="2041">
                  <c:v>0</c:v>
                </c:pt>
                <c:pt idx="2042">
                  <c:v>0</c:v>
                </c:pt>
                <c:pt idx="2043">
                  <c:v>0</c:v>
                </c:pt>
                <c:pt idx="2044">
                  <c:v>0</c:v>
                </c:pt>
                <c:pt idx="2045">
                  <c:v>0</c:v>
                </c:pt>
                <c:pt idx="2046">
                  <c:v>0</c:v>
                </c:pt>
                <c:pt idx="2047">
                  <c:v>0</c:v>
                </c:pt>
                <c:pt idx="2048">
                  <c:v>0</c:v>
                </c:pt>
                <c:pt idx="2049">
                  <c:v>0</c:v>
                </c:pt>
                <c:pt idx="2050">
                  <c:v>0</c:v>
                </c:pt>
                <c:pt idx="2051">
                  <c:v>0</c:v>
                </c:pt>
                <c:pt idx="2052">
                  <c:v>0</c:v>
                </c:pt>
                <c:pt idx="2053">
                  <c:v>0</c:v>
                </c:pt>
                <c:pt idx="2054">
                  <c:v>0</c:v>
                </c:pt>
                <c:pt idx="2055">
                  <c:v>0</c:v>
                </c:pt>
                <c:pt idx="2056">
                  <c:v>0</c:v>
                </c:pt>
                <c:pt idx="2057">
                  <c:v>0</c:v>
                </c:pt>
                <c:pt idx="2058">
                  <c:v>0</c:v>
                </c:pt>
                <c:pt idx="2059">
                  <c:v>0</c:v>
                </c:pt>
                <c:pt idx="2060">
                  <c:v>0</c:v>
                </c:pt>
                <c:pt idx="2061">
                  <c:v>0</c:v>
                </c:pt>
                <c:pt idx="2062">
                  <c:v>0</c:v>
                </c:pt>
                <c:pt idx="2063">
                  <c:v>0</c:v>
                </c:pt>
                <c:pt idx="2064">
                  <c:v>0</c:v>
                </c:pt>
                <c:pt idx="2065">
                  <c:v>0</c:v>
                </c:pt>
                <c:pt idx="2066">
                  <c:v>0</c:v>
                </c:pt>
                <c:pt idx="2067">
                  <c:v>0</c:v>
                </c:pt>
                <c:pt idx="2068">
                  <c:v>0</c:v>
                </c:pt>
                <c:pt idx="2069">
                  <c:v>0</c:v>
                </c:pt>
                <c:pt idx="2070">
                  <c:v>0</c:v>
                </c:pt>
                <c:pt idx="2071">
                  <c:v>0</c:v>
                </c:pt>
                <c:pt idx="2072">
                  <c:v>0</c:v>
                </c:pt>
                <c:pt idx="2073">
                  <c:v>0</c:v>
                </c:pt>
                <c:pt idx="2074">
                  <c:v>0</c:v>
                </c:pt>
                <c:pt idx="2075">
                  <c:v>0</c:v>
                </c:pt>
                <c:pt idx="2076">
                  <c:v>0</c:v>
                </c:pt>
                <c:pt idx="2077">
                  <c:v>0</c:v>
                </c:pt>
                <c:pt idx="2078">
                  <c:v>0</c:v>
                </c:pt>
                <c:pt idx="2079">
                  <c:v>0</c:v>
                </c:pt>
                <c:pt idx="2080">
                  <c:v>0</c:v>
                </c:pt>
                <c:pt idx="2081">
                  <c:v>0</c:v>
                </c:pt>
                <c:pt idx="2082">
                  <c:v>0</c:v>
                </c:pt>
                <c:pt idx="2083">
                  <c:v>0</c:v>
                </c:pt>
                <c:pt idx="2084">
                  <c:v>0</c:v>
                </c:pt>
                <c:pt idx="2085">
                  <c:v>0</c:v>
                </c:pt>
                <c:pt idx="2086">
                  <c:v>0</c:v>
                </c:pt>
                <c:pt idx="2087">
                  <c:v>0</c:v>
                </c:pt>
                <c:pt idx="2088">
                  <c:v>0</c:v>
                </c:pt>
                <c:pt idx="2089">
                  <c:v>0</c:v>
                </c:pt>
                <c:pt idx="2090">
                  <c:v>0</c:v>
                </c:pt>
                <c:pt idx="2091">
                  <c:v>0</c:v>
                </c:pt>
                <c:pt idx="2092">
                  <c:v>0</c:v>
                </c:pt>
                <c:pt idx="2093">
                  <c:v>0</c:v>
                </c:pt>
                <c:pt idx="2094">
                  <c:v>0</c:v>
                </c:pt>
                <c:pt idx="2095">
                  <c:v>0</c:v>
                </c:pt>
                <c:pt idx="2096">
                  <c:v>0</c:v>
                </c:pt>
                <c:pt idx="2097">
                  <c:v>0</c:v>
                </c:pt>
                <c:pt idx="2098">
                  <c:v>0</c:v>
                </c:pt>
                <c:pt idx="2099">
                  <c:v>0</c:v>
                </c:pt>
                <c:pt idx="2100">
                  <c:v>0</c:v>
                </c:pt>
                <c:pt idx="2101">
                  <c:v>0</c:v>
                </c:pt>
                <c:pt idx="2102">
                  <c:v>0</c:v>
                </c:pt>
                <c:pt idx="2103">
                  <c:v>0</c:v>
                </c:pt>
                <c:pt idx="2104">
                  <c:v>0</c:v>
                </c:pt>
                <c:pt idx="2105">
                  <c:v>0</c:v>
                </c:pt>
                <c:pt idx="2106">
                  <c:v>0</c:v>
                </c:pt>
                <c:pt idx="2107">
                  <c:v>0</c:v>
                </c:pt>
                <c:pt idx="2108">
                  <c:v>0</c:v>
                </c:pt>
                <c:pt idx="2109">
                  <c:v>0</c:v>
                </c:pt>
                <c:pt idx="2110">
                  <c:v>0</c:v>
                </c:pt>
                <c:pt idx="2111">
                  <c:v>0</c:v>
                </c:pt>
                <c:pt idx="2112">
                  <c:v>0</c:v>
                </c:pt>
                <c:pt idx="2113">
                  <c:v>0</c:v>
                </c:pt>
                <c:pt idx="2114">
                  <c:v>0</c:v>
                </c:pt>
                <c:pt idx="2115">
                  <c:v>0</c:v>
                </c:pt>
                <c:pt idx="2116">
                  <c:v>0</c:v>
                </c:pt>
                <c:pt idx="2117">
                  <c:v>0</c:v>
                </c:pt>
                <c:pt idx="2118">
                  <c:v>0</c:v>
                </c:pt>
                <c:pt idx="2119">
                  <c:v>0</c:v>
                </c:pt>
                <c:pt idx="2120">
                  <c:v>0</c:v>
                </c:pt>
                <c:pt idx="2121">
                  <c:v>0</c:v>
                </c:pt>
                <c:pt idx="2122">
                  <c:v>0</c:v>
                </c:pt>
                <c:pt idx="2123">
                  <c:v>0</c:v>
                </c:pt>
                <c:pt idx="2124">
                  <c:v>0</c:v>
                </c:pt>
                <c:pt idx="2125">
                  <c:v>0</c:v>
                </c:pt>
                <c:pt idx="2126">
                  <c:v>0</c:v>
                </c:pt>
                <c:pt idx="2127">
                  <c:v>0</c:v>
                </c:pt>
                <c:pt idx="2128">
                  <c:v>0</c:v>
                </c:pt>
                <c:pt idx="2129">
                  <c:v>0</c:v>
                </c:pt>
                <c:pt idx="2130">
                  <c:v>0</c:v>
                </c:pt>
                <c:pt idx="2131">
                  <c:v>0</c:v>
                </c:pt>
                <c:pt idx="2132">
                  <c:v>0</c:v>
                </c:pt>
                <c:pt idx="2133">
                  <c:v>0</c:v>
                </c:pt>
                <c:pt idx="2134">
                  <c:v>0</c:v>
                </c:pt>
                <c:pt idx="2135">
                  <c:v>0</c:v>
                </c:pt>
                <c:pt idx="2136">
                  <c:v>0</c:v>
                </c:pt>
                <c:pt idx="2137">
                  <c:v>0</c:v>
                </c:pt>
                <c:pt idx="2138">
                  <c:v>0</c:v>
                </c:pt>
                <c:pt idx="2139">
                  <c:v>0</c:v>
                </c:pt>
                <c:pt idx="2140">
                  <c:v>0</c:v>
                </c:pt>
                <c:pt idx="2141">
                  <c:v>0</c:v>
                </c:pt>
                <c:pt idx="2142">
                  <c:v>0</c:v>
                </c:pt>
                <c:pt idx="2143">
                  <c:v>0</c:v>
                </c:pt>
                <c:pt idx="2144">
                  <c:v>0</c:v>
                </c:pt>
                <c:pt idx="2145">
                  <c:v>0</c:v>
                </c:pt>
                <c:pt idx="2146">
                  <c:v>0</c:v>
                </c:pt>
                <c:pt idx="2147">
                  <c:v>0</c:v>
                </c:pt>
                <c:pt idx="2148">
                  <c:v>0</c:v>
                </c:pt>
                <c:pt idx="2149">
                  <c:v>0</c:v>
                </c:pt>
                <c:pt idx="2150">
                  <c:v>0</c:v>
                </c:pt>
                <c:pt idx="2151">
                  <c:v>0</c:v>
                </c:pt>
                <c:pt idx="2152">
                  <c:v>0</c:v>
                </c:pt>
                <c:pt idx="2153">
                  <c:v>0</c:v>
                </c:pt>
                <c:pt idx="2154">
                  <c:v>0</c:v>
                </c:pt>
                <c:pt idx="2155">
                  <c:v>0</c:v>
                </c:pt>
                <c:pt idx="2156">
                  <c:v>0</c:v>
                </c:pt>
                <c:pt idx="2157">
                  <c:v>0</c:v>
                </c:pt>
                <c:pt idx="2158">
                  <c:v>0</c:v>
                </c:pt>
                <c:pt idx="2159">
                  <c:v>0</c:v>
                </c:pt>
                <c:pt idx="2160">
                  <c:v>0</c:v>
                </c:pt>
                <c:pt idx="2161">
                  <c:v>0</c:v>
                </c:pt>
                <c:pt idx="2162">
                  <c:v>0</c:v>
                </c:pt>
                <c:pt idx="2163">
                  <c:v>0</c:v>
                </c:pt>
                <c:pt idx="2164">
                  <c:v>0</c:v>
                </c:pt>
                <c:pt idx="2165">
                  <c:v>0</c:v>
                </c:pt>
                <c:pt idx="2166">
                  <c:v>0</c:v>
                </c:pt>
                <c:pt idx="2167">
                  <c:v>0</c:v>
                </c:pt>
                <c:pt idx="2168">
                  <c:v>0</c:v>
                </c:pt>
                <c:pt idx="2169">
                  <c:v>0</c:v>
                </c:pt>
                <c:pt idx="2170">
                  <c:v>0</c:v>
                </c:pt>
                <c:pt idx="2171">
                  <c:v>0</c:v>
                </c:pt>
                <c:pt idx="2172">
                  <c:v>0</c:v>
                </c:pt>
                <c:pt idx="2173">
                  <c:v>0</c:v>
                </c:pt>
                <c:pt idx="2174">
                  <c:v>0</c:v>
                </c:pt>
                <c:pt idx="2175">
                  <c:v>0</c:v>
                </c:pt>
                <c:pt idx="2176">
                  <c:v>0</c:v>
                </c:pt>
                <c:pt idx="2177">
                  <c:v>0</c:v>
                </c:pt>
                <c:pt idx="2178">
                  <c:v>0</c:v>
                </c:pt>
                <c:pt idx="2179">
                  <c:v>0</c:v>
                </c:pt>
                <c:pt idx="2180">
                  <c:v>0</c:v>
                </c:pt>
                <c:pt idx="2181">
                  <c:v>0</c:v>
                </c:pt>
                <c:pt idx="2182">
                  <c:v>0</c:v>
                </c:pt>
                <c:pt idx="2183">
                  <c:v>0</c:v>
                </c:pt>
                <c:pt idx="2184">
                  <c:v>0</c:v>
                </c:pt>
                <c:pt idx="2185">
                  <c:v>0</c:v>
                </c:pt>
                <c:pt idx="2186">
                  <c:v>0</c:v>
                </c:pt>
                <c:pt idx="2187">
                  <c:v>0</c:v>
                </c:pt>
                <c:pt idx="2188">
                  <c:v>0</c:v>
                </c:pt>
                <c:pt idx="2189">
                  <c:v>0</c:v>
                </c:pt>
                <c:pt idx="2190">
                  <c:v>0</c:v>
                </c:pt>
                <c:pt idx="2191">
                  <c:v>0</c:v>
                </c:pt>
                <c:pt idx="2192">
                  <c:v>0</c:v>
                </c:pt>
                <c:pt idx="2193">
                  <c:v>0</c:v>
                </c:pt>
                <c:pt idx="2194">
                  <c:v>0</c:v>
                </c:pt>
                <c:pt idx="2195">
                  <c:v>0</c:v>
                </c:pt>
                <c:pt idx="2196">
                  <c:v>0</c:v>
                </c:pt>
                <c:pt idx="2197">
                  <c:v>0</c:v>
                </c:pt>
                <c:pt idx="2198">
                  <c:v>0</c:v>
                </c:pt>
                <c:pt idx="2199">
                  <c:v>0</c:v>
                </c:pt>
                <c:pt idx="2200">
                  <c:v>0</c:v>
                </c:pt>
                <c:pt idx="2201">
                  <c:v>0</c:v>
                </c:pt>
                <c:pt idx="2202">
                  <c:v>0</c:v>
                </c:pt>
                <c:pt idx="2203">
                  <c:v>0</c:v>
                </c:pt>
                <c:pt idx="2204">
                  <c:v>0</c:v>
                </c:pt>
                <c:pt idx="2205">
                  <c:v>0</c:v>
                </c:pt>
                <c:pt idx="2206">
                  <c:v>0</c:v>
                </c:pt>
                <c:pt idx="2207">
                  <c:v>0</c:v>
                </c:pt>
                <c:pt idx="2208">
                  <c:v>0</c:v>
                </c:pt>
                <c:pt idx="2209">
                  <c:v>0</c:v>
                </c:pt>
                <c:pt idx="2210">
                  <c:v>0</c:v>
                </c:pt>
                <c:pt idx="2211">
                  <c:v>0</c:v>
                </c:pt>
                <c:pt idx="2212">
                  <c:v>0</c:v>
                </c:pt>
                <c:pt idx="2213">
                  <c:v>0</c:v>
                </c:pt>
                <c:pt idx="2214">
                  <c:v>0</c:v>
                </c:pt>
                <c:pt idx="2215">
                  <c:v>0</c:v>
                </c:pt>
                <c:pt idx="2216">
                  <c:v>0</c:v>
                </c:pt>
                <c:pt idx="2217">
                  <c:v>0</c:v>
                </c:pt>
                <c:pt idx="2218">
                  <c:v>0</c:v>
                </c:pt>
                <c:pt idx="2219">
                  <c:v>0</c:v>
                </c:pt>
                <c:pt idx="2220">
                  <c:v>0</c:v>
                </c:pt>
                <c:pt idx="2221">
                  <c:v>0</c:v>
                </c:pt>
                <c:pt idx="2222">
                  <c:v>0</c:v>
                </c:pt>
                <c:pt idx="2223">
                  <c:v>0</c:v>
                </c:pt>
                <c:pt idx="2224">
                  <c:v>0</c:v>
                </c:pt>
                <c:pt idx="2225">
                  <c:v>0</c:v>
                </c:pt>
                <c:pt idx="2226">
                  <c:v>0</c:v>
                </c:pt>
                <c:pt idx="2227">
                  <c:v>0</c:v>
                </c:pt>
                <c:pt idx="2228">
                  <c:v>0</c:v>
                </c:pt>
                <c:pt idx="2229">
                  <c:v>0</c:v>
                </c:pt>
                <c:pt idx="2230">
                  <c:v>0</c:v>
                </c:pt>
                <c:pt idx="2231">
                  <c:v>0</c:v>
                </c:pt>
                <c:pt idx="2232">
                  <c:v>0</c:v>
                </c:pt>
                <c:pt idx="2233">
                  <c:v>0</c:v>
                </c:pt>
                <c:pt idx="2234">
                  <c:v>0</c:v>
                </c:pt>
                <c:pt idx="2235">
                  <c:v>0</c:v>
                </c:pt>
                <c:pt idx="2236">
                  <c:v>0</c:v>
                </c:pt>
                <c:pt idx="2237">
                  <c:v>0</c:v>
                </c:pt>
                <c:pt idx="2238">
                  <c:v>0</c:v>
                </c:pt>
                <c:pt idx="2239">
                  <c:v>0</c:v>
                </c:pt>
                <c:pt idx="2240">
                  <c:v>0</c:v>
                </c:pt>
                <c:pt idx="2241">
                  <c:v>0</c:v>
                </c:pt>
                <c:pt idx="2242">
                  <c:v>0</c:v>
                </c:pt>
                <c:pt idx="2243">
                  <c:v>0</c:v>
                </c:pt>
                <c:pt idx="2244">
                  <c:v>0</c:v>
                </c:pt>
                <c:pt idx="2245">
                  <c:v>0</c:v>
                </c:pt>
                <c:pt idx="2246">
                  <c:v>0</c:v>
                </c:pt>
                <c:pt idx="2247">
                  <c:v>0</c:v>
                </c:pt>
                <c:pt idx="2248">
                  <c:v>0</c:v>
                </c:pt>
                <c:pt idx="2249">
                  <c:v>0</c:v>
                </c:pt>
                <c:pt idx="2250">
                  <c:v>0</c:v>
                </c:pt>
                <c:pt idx="2251">
                  <c:v>0</c:v>
                </c:pt>
                <c:pt idx="2252">
                  <c:v>0</c:v>
                </c:pt>
                <c:pt idx="2253">
                  <c:v>0</c:v>
                </c:pt>
                <c:pt idx="2254">
                  <c:v>0</c:v>
                </c:pt>
                <c:pt idx="2255">
                  <c:v>0</c:v>
                </c:pt>
                <c:pt idx="2256">
                  <c:v>0</c:v>
                </c:pt>
                <c:pt idx="2257">
                  <c:v>0</c:v>
                </c:pt>
                <c:pt idx="2258">
                  <c:v>0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0</c:v>
                </c:pt>
                <c:pt idx="2315">
                  <c:v>0</c:v>
                </c:pt>
                <c:pt idx="2316">
                  <c:v>0</c:v>
                </c:pt>
                <c:pt idx="2317">
                  <c:v>0</c:v>
                </c:pt>
                <c:pt idx="2318">
                  <c:v>0</c:v>
                </c:pt>
                <c:pt idx="2319">
                  <c:v>0</c:v>
                </c:pt>
                <c:pt idx="2320">
                  <c:v>0</c:v>
                </c:pt>
                <c:pt idx="2321">
                  <c:v>0</c:v>
                </c:pt>
                <c:pt idx="2322">
                  <c:v>0</c:v>
                </c:pt>
                <c:pt idx="2323">
                  <c:v>0</c:v>
                </c:pt>
                <c:pt idx="2324">
                  <c:v>0</c:v>
                </c:pt>
                <c:pt idx="2325">
                  <c:v>0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0</c:v>
                </c:pt>
                <c:pt idx="2337">
                  <c:v>0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</c:numCache>
              <c:extLst xmlns:c15="http://schemas.microsoft.com/office/drawing/2012/chart"/>
            </c:numRef>
          </c:xVal>
          <c:yVal>
            <c:numRef>
              <c:f>'ASEP 1'!$Y$5:$Y$3933</c:f>
              <c:numCache>
                <c:formatCode>0.0</c:formatCode>
                <c:ptCount val="3929"/>
                <c:pt idx="0">
                  <c:v>69.5</c:v>
                </c:pt>
                <c:pt idx="1">
                  <c:v>68.900000000000006</c:v>
                </c:pt>
                <c:pt idx="2">
                  <c:v>72.5</c:v>
                </c:pt>
                <c:pt idx="3">
                  <c:v>77.3</c:v>
                </c:pt>
                <c:pt idx="4">
                  <c:v>79.3</c:v>
                </c:pt>
                <c:pt idx="5">
                  <c:v>82.5</c:v>
                </c:pt>
                <c:pt idx="6">
                  <c:v>70.3</c:v>
                </c:pt>
                <c:pt idx="7">
                  <c:v>69.5</c:v>
                </c:pt>
                <c:pt idx="8">
                  <c:v>72</c:v>
                </c:pt>
                <c:pt idx="9">
                  <c:v>77.599999999999994</c:v>
                </c:pt>
                <c:pt idx="10">
                  <c:v>67.5</c:v>
                </c:pt>
                <c:pt idx="11">
                  <c:v>67.3</c:v>
                </c:pt>
                <c:pt idx="12">
                  <c:v>67.400000000000006</c:v>
                </c:pt>
                <c:pt idx="13">
                  <c:v>66.900000000000006</c:v>
                </c:pt>
                <c:pt idx="14">
                  <c:v>66.3</c:v>
                </c:pt>
                <c:pt idx="15">
                  <c:v>66.2</c:v>
                </c:pt>
                <c:pt idx="16">
                  <c:v>67.3</c:v>
                </c:pt>
                <c:pt idx="17">
                  <c:v>70.599999999999994</c:v>
                </c:pt>
                <c:pt idx="18">
                  <c:v>73.2</c:v>
                </c:pt>
                <c:pt idx="19">
                  <c:v>76.7</c:v>
                </c:pt>
                <c:pt idx="20">
                  <c:v>67.7</c:v>
                </c:pt>
                <c:pt idx="21">
                  <c:v>67</c:v>
                </c:pt>
                <c:pt idx="22">
                  <c:v>67.400000000000006</c:v>
                </c:pt>
                <c:pt idx="23">
                  <c:v>67.599999999999994</c:v>
                </c:pt>
                <c:pt idx="24">
                  <c:v>69</c:v>
                </c:pt>
                <c:pt idx="25">
                  <c:v>68.900000000000006</c:v>
                </c:pt>
                <c:pt idx="26">
                  <c:v>69.2</c:v>
                </c:pt>
                <c:pt idx="27">
                  <c:v>69.5</c:v>
                </c:pt>
                <c:pt idx="28">
                  <c:v>71.3</c:v>
                </c:pt>
                <c:pt idx="29">
                  <c:v>77.099999999999994</c:v>
                </c:pt>
                <c:pt idx="30">
                  <c:v>80.7</c:v>
                </c:pt>
                <c:pt idx="31">
                  <c:v>71.900000000000006</c:v>
                </c:pt>
                <c:pt idx="32">
                  <c:v>72.400000000000006</c:v>
                </c:pt>
                <c:pt idx="33">
                  <c:v>79.3</c:v>
                </c:pt>
                <c:pt idx="34">
                  <c:v>80.8</c:v>
                </c:pt>
                <c:pt idx="35">
                  <c:v>81.8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61.7</c:v>
                </c:pt>
                <c:pt idx="101">
                  <c:v>60.4</c:v>
                </c:pt>
                <c:pt idx="102">
                  <c:v>62.6</c:v>
                </c:pt>
                <c:pt idx="103">
                  <c:v>64.5</c:v>
                </c:pt>
                <c:pt idx="104">
                  <c:v>66.5</c:v>
                </c:pt>
                <c:pt idx="105">
                  <c:v>68.900000000000006</c:v>
                </c:pt>
                <c:pt idx="106">
                  <c:v>70.099999999999994</c:v>
                </c:pt>
                <c:pt idx="107">
                  <c:v>69</c:v>
                </c:pt>
                <c:pt idx="108">
                  <c:v>71.099999999999994</c:v>
                </c:pt>
                <c:pt idx="109">
                  <c:v>65</c:v>
                </c:pt>
                <c:pt idx="110">
                  <c:v>66.099999999999994</c:v>
                </c:pt>
                <c:pt idx="111">
                  <c:v>67.900000000000006</c:v>
                </c:pt>
                <c:pt idx="112">
                  <c:v>62.6</c:v>
                </c:pt>
                <c:pt idx="113">
                  <c:v>57.9</c:v>
                </c:pt>
                <c:pt idx="114">
                  <c:v>53.5</c:v>
                </c:pt>
                <c:pt idx="115">
                  <c:v>49.3</c:v>
                </c:pt>
                <c:pt idx="116">
                  <c:v>65.400000000000006</c:v>
                </c:pt>
                <c:pt idx="117">
                  <c:v>67.099999999999994</c:v>
                </c:pt>
                <c:pt idx="118">
                  <c:v>69.3</c:v>
                </c:pt>
                <c:pt idx="119">
                  <c:v>70.900000000000006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0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61.4</c:v>
                </c:pt>
                <c:pt idx="301">
                  <c:v>62.2</c:v>
                </c:pt>
                <c:pt idx="302">
                  <c:v>62.7</c:v>
                </c:pt>
                <c:pt idx="303">
                  <c:v>64.7</c:v>
                </c:pt>
                <c:pt idx="304">
                  <c:v>66.900000000000006</c:v>
                </c:pt>
                <c:pt idx="305">
                  <c:v>68.400000000000006</c:v>
                </c:pt>
                <c:pt idx="306">
                  <c:v>70.2</c:v>
                </c:pt>
                <c:pt idx="307">
                  <c:v>70.5</c:v>
                </c:pt>
                <c:pt idx="308">
                  <c:v>70.8</c:v>
                </c:pt>
                <c:pt idx="309">
                  <c:v>65.5</c:v>
                </c:pt>
                <c:pt idx="310">
                  <c:v>67</c:v>
                </c:pt>
                <c:pt idx="311">
                  <c:v>68.8</c:v>
                </c:pt>
                <c:pt idx="312">
                  <c:v>69</c:v>
                </c:pt>
                <c:pt idx="313">
                  <c:v>71.5</c:v>
                </c:pt>
                <c:pt idx="314">
                  <c:v>72.2</c:v>
                </c:pt>
                <c:pt idx="315">
                  <c:v>73.8</c:v>
                </c:pt>
                <c:pt idx="316">
                  <c:v>53.7</c:v>
                </c:pt>
                <c:pt idx="317">
                  <c:v>58.2</c:v>
                </c:pt>
                <c:pt idx="318">
                  <c:v>61.7</c:v>
                </c:pt>
                <c:pt idx="319">
                  <c:v>59</c:v>
                </c:pt>
                <c:pt idx="320">
                  <c:v>64.3</c:v>
                </c:pt>
                <c:pt idx="321">
                  <c:v>67.900000000000006</c:v>
                </c:pt>
                <c:pt idx="322">
                  <c:v>69.8</c:v>
                </c:pt>
                <c:pt idx="323">
                  <c:v>71.599999999999994</c:v>
                </c:pt>
                <c:pt idx="324">
                  <c:v>0</c:v>
                </c:pt>
                <c:pt idx="325">
                  <c:v>0</c:v>
                </c:pt>
                <c:pt idx="326">
                  <c:v>0</c:v>
                </c:pt>
                <c:pt idx="327">
                  <c:v>0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0</c:v>
                </c:pt>
                <c:pt idx="336">
                  <c:v>0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0</c:v>
                </c:pt>
                <c:pt idx="346">
                  <c:v>0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0</c:v>
                </c:pt>
                <c:pt idx="356">
                  <c:v>0</c:v>
                </c:pt>
                <c:pt idx="357">
                  <c:v>0</c:v>
                </c:pt>
                <c:pt idx="358">
                  <c:v>0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0</c:v>
                </c:pt>
                <c:pt idx="364">
                  <c:v>0</c:v>
                </c:pt>
                <c:pt idx="365">
                  <c:v>0</c:v>
                </c:pt>
                <c:pt idx="366">
                  <c:v>0</c:v>
                </c:pt>
                <c:pt idx="367">
                  <c:v>0</c:v>
                </c:pt>
                <c:pt idx="368">
                  <c:v>0</c:v>
                </c:pt>
                <c:pt idx="369">
                  <c:v>0</c:v>
                </c:pt>
                <c:pt idx="370">
                  <c:v>0</c:v>
                </c:pt>
                <c:pt idx="371">
                  <c:v>0</c:v>
                </c:pt>
                <c:pt idx="372">
                  <c:v>0</c:v>
                </c:pt>
                <c:pt idx="373">
                  <c:v>0</c:v>
                </c:pt>
                <c:pt idx="374">
                  <c:v>0</c:v>
                </c:pt>
                <c:pt idx="375">
                  <c:v>0</c:v>
                </c:pt>
                <c:pt idx="376">
                  <c:v>0</c:v>
                </c:pt>
                <c:pt idx="377">
                  <c:v>0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0</c:v>
                </c:pt>
                <c:pt idx="385">
                  <c:v>0</c:v>
                </c:pt>
                <c:pt idx="386">
                  <c:v>0</c:v>
                </c:pt>
                <c:pt idx="387">
                  <c:v>0</c:v>
                </c:pt>
                <c:pt idx="388">
                  <c:v>0</c:v>
                </c:pt>
                <c:pt idx="389">
                  <c:v>0</c:v>
                </c:pt>
                <c:pt idx="390">
                  <c:v>0</c:v>
                </c:pt>
                <c:pt idx="391">
                  <c:v>0</c:v>
                </c:pt>
                <c:pt idx="392">
                  <c:v>0</c:v>
                </c:pt>
                <c:pt idx="393">
                  <c:v>0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64.8</c:v>
                </c:pt>
                <c:pt idx="401">
                  <c:v>65.7</c:v>
                </c:pt>
                <c:pt idx="402">
                  <c:v>66.5</c:v>
                </c:pt>
                <c:pt idx="403">
                  <c:v>68.599999999999994</c:v>
                </c:pt>
                <c:pt idx="404">
                  <c:v>69.8</c:v>
                </c:pt>
                <c:pt idx="405">
                  <c:v>70.599999999999994</c:v>
                </c:pt>
                <c:pt idx="406">
                  <c:v>72.599999999999994</c:v>
                </c:pt>
                <c:pt idx="407">
                  <c:v>73.8</c:v>
                </c:pt>
                <c:pt idx="408">
                  <c:v>69.7</c:v>
                </c:pt>
                <c:pt idx="409">
                  <c:v>72.099999999999994</c:v>
                </c:pt>
                <c:pt idx="410">
                  <c:v>72</c:v>
                </c:pt>
                <c:pt idx="411">
                  <c:v>73.599999999999994</c:v>
                </c:pt>
                <c:pt idx="412">
                  <c:v>74.7</c:v>
                </c:pt>
                <c:pt idx="413">
                  <c:v>77.400000000000006</c:v>
                </c:pt>
                <c:pt idx="414">
                  <c:v>77.8</c:v>
                </c:pt>
                <c:pt idx="415">
                  <c:v>72.099999999999994</c:v>
                </c:pt>
                <c:pt idx="416">
                  <c:v>69.900000000000006</c:v>
                </c:pt>
                <c:pt idx="417">
                  <c:v>67.900000000000006</c:v>
                </c:pt>
                <c:pt idx="418">
                  <c:v>65.400000000000006</c:v>
                </c:pt>
                <c:pt idx="419">
                  <c:v>62.6</c:v>
                </c:pt>
                <c:pt idx="420">
                  <c:v>61</c:v>
                </c:pt>
                <c:pt idx="421">
                  <c:v>61.1</c:v>
                </c:pt>
                <c:pt idx="422">
                  <c:v>59</c:v>
                </c:pt>
                <c:pt idx="423">
                  <c:v>0</c:v>
                </c:pt>
                <c:pt idx="424">
                  <c:v>0</c:v>
                </c:pt>
                <c:pt idx="425">
                  <c:v>0</c:v>
                </c:pt>
                <c:pt idx="426">
                  <c:v>0</c:v>
                </c:pt>
                <c:pt idx="427">
                  <c:v>0</c:v>
                </c:pt>
                <c:pt idx="428">
                  <c:v>0</c:v>
                </c:pt>
                <c:pt idx="429">
                  <c:v>0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0</c:v>
                </c:pt>
                <c:pt idx="435">
                  <c:v>0</c:v>
                </c:pt>
                <c:pt idx="436">
                  <c:v>0</c:v>
                </c:pt>
                <c:pt idx="437">
                  <c:v>0</c:v>
                </c:pt>
                <c:pt idx="438">
                  <c:v>0</c:v>
                </c:pt>
                <c:pt idx="439">
                  <c:v>0</c:v>
                </c:pt>
                <c:pt idx="440">
                  <c:v>0</c:v>
                </c:pt>
                <c:pt idx="441">
                  <c:v>0</c:v>
                </c:pt>
                <c:pt idx="442">
                  <c:v>0</c:v>
                </c:pt>
                <c:pt idx="443">
                  <c:v>0</c:v>
                </c:pt>
                <c:pt idx="444">
                  <c:v>0</c:v>
                </c:pt>
                <c:pt idx="445">
                  <c:v>0</c:v>
                </c:pt>
                <c:pt idx="446">
                  <c:v>0</c:v>
                </c:pt>
                <c:pt idx="447">
                  <c:v>0</c:v>
                </c:pt>
                <c:pt idx="448">
                  <c:v>0</c:v>
                </c:pt>
                <c:pt idx="449">
                  <c:v>0</c:v>
                </c:pt>
                <c:pt idx="450">
                  <c:v>0</c:v>
                </c:pt>
                <c:pt idx="451">
                  <c:v>0</c:v>
                </c:pt>
                <c:pt idx="452">
                  <c:v>0</c:v>
                </c:pt>
                <c:pt idx="453">
                  <c:v>0</c:v>
                </c:pt>
                <c:pt idx="454">
                  <c:v>0</c:v>
                </c:pt>
                <c:pt idx="455">
                  <c:v>0</c:v>
                </c:pt>
                <c:pt idx="456">
                  <c:v>0</c:v>
                </c:pt>
                <c:pt idx="457">
                  <c:v>0</c:v>
                </c:pt>
                <c:pt idx="458">
                  <c:v>0</c:v>
                </c:pt>
                <c:pt idx="459">
                  <c:v>0</c:v>
                </c:pt>
                <c:pt idx="460">
                  <c:v>0</c:v>
                </c:pt>
                <c:pt idx="461">
                  <c:v>0</c:v>
                </c:pt>
                <c:pt idx="462">
                  <c:v>0</c:v>
                </c:pt>
                <c:pt idx="463">
                  <c:v>0</c:v>
                </c:pt>
                <c:pt idx="464">
                  <c:v>0</c:v>
                </c:pt>
                <c:pt idx="465">
                  <c:v>0</c:v>
                </c:pt>
                <c:pt idx="466">
                  <c:v>0</c:v>
                </c:pt>
                <c:pt idx="467">
                  <c:v>0</c:v>
                </c:pt>
                <c:pt idx="468">
                  <c:v>0</c:v>
                </c:pt>
                <c:pt idx="469">
                  <c:v>0</c:v>
                </c:pt>
                <c:pt idx="470">
                  <c:v>0</c:v>
                </c:pt>
                <c:pt idx="471">
                  <c:v>0</c:v>
                </c:pt>
                <c:pt idx="472">
                  <c:v>0</c:v>
                </c:pt>
                <c:pt idx="473">
                  <c:v>0</c:v>
                </c:pt>
                <c:pt idx="474">
                  <c:v>0</c:v>
                </c:pt>
                <c:pt idx="475">
                  <c:v>0</c:v>
                </c:pt>
                <c:pt idx="476">
                  <c:v>0</c:v>
                </c:pt>
                <c:pt idx="477">
                  <c:v>0</c:v>
                </c:pt>
                <c:pt idx="478">
                  <c:v>0</c:v>
                </c:pt>
                <c:pt idx="479">
                  <c:v>0</c:v>
                </c:pt>
                <c:pt idx="480">
                  <c:v>0</c:v>
                </c:pt>
                <c:pt idx="481">
                  <c:v>0</c:v>
                </c:pt>
                <c:pt idx="482">
                  <c:v>0</c:v>
                </c:pt>
                <c:pt idx="483">
                  <c:v>0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0</c:v>
                </c:pt>
                <c:pt idx="488">
                  <c:v>0</c:v>
                </c:pt>
                <c:pt idx="489">
                  <c:v>0</c:v>
                </c:pt>
                <c:pt idx="490">
                  <c:v>0</c:v>
                </c:pt>
                <c:pt idx="491">
                  <c:v>0</c:v>
                </c:pt>
                <c:pt idx="492">
                  <c:v>0</c:v>
                </c:pt>
                <c:pt idx="493">
                  <c:v>0</c:v>
                </c:pt>
                <c:pt idx="494">
                  <c:v>0</c:v>
                </c:pt>
                <c:pt idx="495">
                  <c:v>0</c:v>
                </c:pt>
                <c:pt idx="496">
                  <c:v>0</c:v>
                </c:pt>
                <c:pt idx="497">
                  <c:v>0</c:v>
                </c:pt>
                <c:pt idx="498">
                  <c:v>0</c:v>
                </c:pt>
                <c:pt idx="499">
                  <c:v>0</c:v>
                </c:pt>
                <c:pt idx="500">
                  <c:v>72.3</c:v>
                </c:pt>
                <c:pt idx="501">
                  <c:v>72.900000000000006</c:v>
                </c:pt>
                <c:pt idx="502">
                  <c:v>72.7</c:v>
                </c:pt>
                <c:pt idx="503">
                  <c:v>73.7</c:v>
                </c:pt>
                <c:pt idx="504">
                  <c:v>72.900000000000006</c:v>
                </c:pt>
                <c:pt idx="505">
                  <c:v>73.3</c:v>
                </c:pt>
                <c:pt idx="506">
                  <c:v>71.8</c:v>
                </c:pt>
                <c:pt idx="507">
                  <c:v>72.5</c:v>
                </c:pt>
                <c:pt idx="508">
                  <c:v>71.099999999999994</c:v>
                </c:pt>
                <c:pt idx="509">
                  <c:v>70.599999999999994</c:v>
                </c:pt>
                <c:pt idx="510">
                  <c:v>71.2</c:v>
                </c:pt>
                <c:pt idx="511">
                  <c:v>71</c:v>
                </c:pt>
                <c:pt idx="512">
                  <c:v>71.7</c:v>
                </c:pt>
                <c:pt idx="513">
                  <c:v>71.8</c:v>
                </c:pt>
                <c:pt idx="514">
                  <c:v>72.2</c:v>
                </c:pt>
                <c:pt idx="515">
                  <c:v>71.8</c:v>
                </c:pt>
                <c:pt idx="516">
                  <c:v>73.400000000000006</c:v>
                </c:pt>
                <c:pt idx="517">
                  <c:v>74</c:v>
                </c:pt>
                <c:pt idx="518">
                  <c:v>69</c:v>
                </c:pt>
                <c:pt idx="519">
                  <c:v>67</c:v>
                </c:pt>
                <c:pt idx="520">
                  <c:v>69.599999999999994</c:v>
                </c:pt>
                <c:pt idx="521">
                  <c:v>68.400000000000006</c:v>
                </c:pt>
                <c:pt idx="522">
                  <c:v>68.400000000000006</c:v>
                </c:pt>
                <c:pt idx="523">
                  <c:v>69.599999999999994</c:v>
                </c:pt>
                <c:pt idx="524">
                  <c:v>67.599999999999994</c:v>
                </c:pt>
                <c:pt idx="525">
                  <c:v>70.2</c:v>
                </c:pt>
                <c:pt idx="526">
                  <c:v>69.8</c:v>
                </c:pt>
                <c:pt idx="527">
                  <c:v>70</c:v>
                </c:pt>
                <c:pt idx="528">
                  <c:v>70.599999999999994</c:v>
                </c:pt>
                <c:pt idx="529">
                  <c:v>70</c:v>
                </c:pt>
                <c:pt idx="530">
                  <c:v>70.8</c:v>
                </c:pt>
                <c:pt idx="531">
                  <c:v>72.5</c:v>
                </c:pt>
                <c:pt idx="532">
                  <c:v>73.599999999999994</c:v>
                </c:pt>
                <c:pt idx="533">
                  <c:v>70.7</c:v>
                </c:pt>
                <c:pt idx="534">
                  <c:v>68.8</c:v>
                </c:pt>
                <c:pt idx="535">
                  <c:v>66.099999999999994</c:v>
                </c:pt>
                <c:pt idx="536">
                  <c:v>64.7</c:v>
                </c:pt>
                <c:pt idx="537">
                  <c:v>63.7</c:v>
                </c:pt>
                <c:pt idx="538">
                  <c:v>61</c:v>
                </c:pt>
                <c:pt idx="539">
                  <c:v>59.8</c:v>
                </c:pt>
                <c:pt idx="540">
                  <c:v>59.1</c:v>
                </c:pt>
                <c:pt idx="541">
                  <c:v>57.8</c:v>
                </c:pt>
                <c:pt idx="542">
                  <c:v>56.5</c:v>
                </c:pt>
                <c:pt idx="543">
                  <c:v>54</c:v>
                </c:pt>
                <c:pt idx="544">
                  <c:v>50.2</c:v>
                </c:pt>
                <c:pt idx="545">
                  <c:v>64.2</c:v>
                </c:pt>
                <c:pt idx="546">
                  <c:v>57</c:v>
                </c:pt>
                <c:pt idx="547">
                  <c:v>65.599999999999994</c:v>
                </c:pt>
                <c:pt idx="548">
                  <c:v>57.5</c:v>
                </c:pt>
                <c:pt idx="549">
                  <c:v>64.3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0</c:v>
                </c:pt>
                <c:pt idx="577">
                  <c:v>0</c:v>
                </c:pt>
                <c:pt idx="578">
                  <c:v>0</c:v>
                </c:pt>
                <c:pt idx="579">
                  <c:v>0</c:v>
                </c:pt>
                <c:pt idx="580">
                  <c:v>0</c:v>
                </c:pt>
                <c:pt idx="581">
                  <c:v>0</c:v>
                </c:pt>
                <c:pt idx="582">
                  <c:v>0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0</c:v>
                </c:pt>
                <c:pt idx="587">
                  <c:v>0</c:v>
                </c:pt>
                <c:pt idx="588">
                  <c:v>0</c:v>
                </c:pt>
                <c:pt idx="589">
                  <c:v>0</c:v>
                </c:pt>
                <c:pt idx="590">
                  <c:v>0</c:v>
                </c:pt>
                <c:pt idx="591">
                  <c:v>0</c:v>
                </c:pt>
                <c:pt idx="592">
                  <c:v>0</c:v>
                </c:pt>
                <c:pt idx="593">
                  <c:v>0</c:v>
                </c:pt>
                <c:pt idx="594">
                  <c:v>0</c:v>
                </c:pt>
                <c:pt idx="595">
                  <c:v>0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60.1</c:v>
                </c:pt>
                <c:pt idx="601">
                  <c:v>59.3</c:v>
                </c:pt>
                <c:pt idx="602">
                  <c:v>63</c:v>
                </c:pt>
                <c:pt idx="603">
                  <c:v>64.599999999999994</c:v>
                </c:pt>
                <c:pt idx="604">
                  <c:v>67.2</c:v>
                </c:pt>
                <c:pt idx="605">
                  <c:v>68.8</c:v>
                </c:pt>
                <c:pt idx="606">
                  <c:v>71</c:v>
                </c:pt>
                <c:pt idx="607">
                  <c:v>73.3</c:v>
                </c:pt>
                <c:pt idx="608">
                  <c:v>72.099999999999994</c:v>
                </c:pt>
                <c:pt idx="609">
                  <c:v>69.099999999999994</c:v>
                </c:pt>
                <c:pt idx="610">
                  <c:v>70</c:v>
                </c:pt>
                <c:pt idx="611">
                  <c:v>69.3</c:v>
                </c:pt>
                <c:pt idx="612">
                  <c:v>70.3</c:v>
                </c:pt>
                <c:pt idx="613">
                  <c:v>70.8</c:v>
                </c:pt>
                <c:pt idx="614">
                  <c:v>71.599999999999994</c:v>
                </c:pt>
                <c:pt idx="615">
                  <c:v>66.5</c:v>
                </c:pt>
                <c:pt idx="616">
                  <c:v>67.900000000000006</c:v>
                </c:pt>
                <c:pt idx="617">
                  <c:v>67.2</c:v>
                </c:pt>
                <c:pt idx="618">
                  <c:v>67.2</c:v>
                </c:pt>
                <c:pt idx="619">
                  <c:v>65.7</c:v>
                </c:pt>
                <c:pt idx="620">
                  <c:v>67.599999999999994</c:v>
                </c:pt>
                <c:pt idx="621">
                  <c:v>67</c:v>
                </c:pt>
                <c:pt idx="622">
                  <c:v>68</c:v>
                </c:pt>
                <c:pt idx="623">
                  <c:v>69.2</c:v>
                </c:pt>
                <c:pt idx="624">
                  <c:v>71.3</c:v>
                </c:pt>
                <c:pt idx="625">
                  <c:v>71.8</c:v>
                </c:pt>
                <c:pt idx="626">
                  <c:v>74.2</c:v>
                </c:pt>
                <c:pt idx="627">
                  <c:v>70</c:v>
                </c:pt>
                <c:pt idx="628">
                  <c:v>70.099999999999994</c:v>
                </c:pt>
                <c:pt idx="629">
                  <c:v>69.900000000000006</c:v>
                </c:pt>
                <c:pt idx="630">
                  <c:v>69.3</c:v>
                </c:pt>
                <c:pt idx="631">
                  <c:v>71.2</c:v>
                </c:pt>
                <c:pt idx="632">
                  <c:v>67.599999999999994</c:v>
                </c:pt>
                <c:pt idx="633">
                  <c:v>66.7</c:v>
                </c:pt>
                <c:pt idx="634">
                  <c:v>66.099999999999994</c:v>
                </c:pt>
                <c:pt idx="635">
                  <c:v>67</c:v>
                </c:pt>
                <c:pt idx="636">
                  <c:v>68.400000000000006</c:v>
                </c:pt>
                <c:pt idx="637">
                  <c:v>61.9</c:v>
                </c:pt>
                <c:pt idx="638">
                  <c:v>62.5</c:v>
                </c:pt>
                <c:pt idx="639">
                  <c:v>60.6</c:v>
                </c:pt>
                <c:pt idx="640">
                  <c:v>61.3</c:v>
                </c:pt>
                <c:pt idx="641">
                  <c:v>64</c:v>
                </c:pt>
                <c:pt idx="642">
                  <c:v>66.8</c:v>
                </c:pt>
                <c:pt idx="643">
                  <c:v>63.3</c:v>
                </c:pt>
                <c:pt idx="644">
                  <c:v>60.5</c:v>
                </c:pt>
                <c:pt idx="645">
                  <c:v>54.6</c:v>
                </c:pt>
                <c:pt idx="646">
                  <c:v>58.2</c:v>
                </c:pt>
                <c:pt idx="647">
                  <c:v>59.3</c:v>
                </c:pt>
                <c:pt idx="648">
                  <c:v>47.1</c:v>
                </c:pt>
                <c:pt idx="649">
                  <c:v>55</c:v>
                </c:pt>
                <c:pt idx="650">
                  <c:v>57.2</c:v>
                </c:pt>
                <c:pt idx="651">
                  <c:v>60.8</c:v>
                </c:pt>
                <c:pt idx="652">
                  <c:v>63.4</c:v>
                </c:pt>
                <c:pt idx="653">
                  <c:v>63.9</c:v>
                </c:pt>
                <c:pt idx="654">
                  <c:v>65.8</c:v>
                </c:pt>
                <c:pt idx="655">
                  <c:v>66.5</c:v>
                </c:pt>
                <c:pt idx="656">
                  <c:v>63.9</c:v>
                </c:pt>
                <c:pt idx="657">
                  <c:v>64.900000000000006</c:v>
                </c:pt>
                <c:pt idx="658">
                  <c:v>62.8</c:v>
                </c:pt>
                <c:pt idx="659">
                  <c:v>62.2</c:v>
                </c:pt>
                <c:pt idx="660">
                  <c:v>56.5</c:v>
                </c:pt>
                <c:pt idx="661">
                  <c:v>61.7</c:v>
                </c:pt>
                <c:pt idx="662">
                  <c:v>58.4</c:v>
                </c:pt>
                <c:pt idx="663">
                  <c:v>59.5</c:v>
                </c:pt>
                <c:pt idx="664">
                  <c:v>60.3</c:v>
                </c:pt>
                <c:pt idx="665">
                  <c:v>60.2</c:v>
                </c:pt>
                <c:pt idx="666">
                  <c:v>59.7</c:v>
                </c:pt>
                <c:pt idx="667">
                  <c:v>59.1</c:v>
                </c:pt>
                <c:pt idx="668">
                  <c:v>58.1</c:v>
                </c:pt>
                <c:pt idx="669">
                  <c:v>61.6</c:v>
                </c:pt>
                <c:pt idx="670">
                  <c:v>59.4</c:v>
                </c:pt>
                <c:pt idx="671">
                  <c:v>61.5</c:v>
                </c:pt>
                <c:pt idx="672">
                  <c:v>61.7</c:v>
                </c:pt>
                <c:pt idx="673">
                  <c:v>60.8</c:v>
                </c:pt>
                <c:pt idx="674">
                  <c:v>63.3</c:v>
                </c:pt>
                <c:pt idx="675">
                  <c:v>62.7</c:v>
                </c:pt>
                <c:pt idx="676">
                  <c:v>64.8</c:v>
                </c:pt>
                <c:pt idx="677">
                  <c:v>64.7</c:v>
                </c:pt>
                <c:pt idx="678">
                  <c:v>49.3</c:v>
                </c:pt>
                <c:pt idx="679">
                  <c:v>55.9</c:v>
                </c:pt>
                <c:pt idx="680">
                  <c:v>57.6</c:v>
                </c:pt>
                <c:pt idx="681">
                  <c:v>0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0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</c:v>
                </c:pt>
                <c:pt idx="690">
                  <c:v>0</c:v>
                </c:pt>
                <c:pt idx="691">
                  <c:v>0</c:v>
                </c:pt>
                <c:pt idx="692">
                  <c:v>0</c:v>
                </c:pt>
                <c:pt idx="693">
                  <c:v>0</c:v>
                </c:pt>
                <c:pt idx="694">
                  <c:v>0</c:v>
                </c:pt>
                <c:pt idx="695">
                  <c:v>0</c:v>
                </c:pt>
                <c:pt idx="696">
                  <c:v>0</c:v>
                </c:pt>
                <c:pt idx="697">
                  <c:v>0</c:v>
                </c:pt>
                <c:pt idx="698">
                  <c:v>0</c:v>
                </c:pt>
                <c:pt idx="699">
                  <c:v>0</c:v>
                </c:pt>
                <c:pt idx="700">
                  <c:v>64.900000000000006</c:v>
                </c:pt>
                <c:pt idx="701">
                  <c:v>65.5</c:v>
                </c:pt>
                <c:pt idx="702">
                  <c:v>66.900000000000006</c:v>
                </c:pt>
                <c:pt idx="703">
                  <c:v>68.2</c:v>
                </c:pt>
                <c:pt idx="704">
                  <c:v>69.3</c:v>
                </c:pt>
                <c:pt idx="705">
                  <c:v>69.5</c:v>
                </c:pt>
                <c:pt idx="706">
                  <c:v>71.8</c:v>
                </c:pt>
                <c:pt idx="707">
                  <c:v>72.8</c:v>
                </c:pt>
                <c:pt idx="708">
                  <c:v>59.6</c:v>
                </c:pt>
                <c:pt idx="709">
                  <c:v>61.1</c:v>
                </c:pt>
                <c:pt idx="710">
                  <c:v>63.5</c:v>
                </c:pt>
                <c:pt idx="711">
                  <c:v>66.099999999999994</c:v>
                </c:pt>
                <c:pt idx="712">
                  <c:v>67.7</c:v>
                </c:pt>
                <c:pt idx="713">
                  <c:v>69.5</c:v>
                </c:pt>
                <c:pt idx="714">
                  <c:v>71</c:v>
                </c:pt>
                <c:pt idx="715">
                  <c:v>69.3</c:v>
                </c:pt>
                <c:pt idx="716">
                  <c:v>71.2</c:v>
                </c:pt>
                <c:pt idx="717">
                  <c:v>0</c:v>
                </c:pt>
                <c:pt idx="718">
                  <c:v>0</c:v>
                </c:pt>
                <c:pt idx="719">
                  <c:v>0</c:v>
                </c:pt>
                <c:pt idx="720">
                  <c:v>0</c:v>
                </c:pt>
                <c:pt idx="721">
                  <c:v>0</c:v>
                </c:pt>
                <c:pt idx="722">
                  <c:v>0</c:v>
                </c:pt>
                <c:pt idx="723">
                  <c:v>0</c:v>
                </c:pt>
                <c:pt idx="724">
                  <c:v>0</c:v>
                </c:pt>
                <c:pt idx="725">
                  <c:v>0</c:v>
                </c:pt>
                <c:pt idx="726">
                  <c:v>0</c:v>
                </c:pt>
                <c:pt idx="727">
                  <c:v>0</c:v>
                </c:pt>
                <c:pt idx="728">
                  <c:v>0</c:v>
                </c:pt>
                <c:pt idx="729">
                  <c:v>0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</c:v>
                </c:pt>
                <c:pt idx="740">
                  <c:v>0</c:v>
                </c:pt>
                <c:pt idx="741">
                  <c:v>0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</c:v>
                </c:pt>
                <c:pt idx="746">
                  <c:v>0</c:v>
                </c:pt>
                <c:pt idx="747">
                  <c:v>0</c:v>
                </c:pt>
                <c:pt idx="748">
                  <c:v>0</c:v>
                </c:pt>
                <c:pt idx="749">
                  <c:v>0</c:v>
                </c:pt>
                <c:pt idx="750">
                  <c:v>0</c:v>
                </c:pt>
                <c:pt idx="751">
                  <c:v>0</c:v>
                </c:pt>
                <c:pt idx="752">
                  <c:v>0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3">
                  <c:v>0</c:v>
                </c:pt>
                <c:pt idx="764">
                  <c:v>0</c:v>
                </c:pt>
                <c:pt idx="765">
                  <c:v>0</c:v>
                </c:pt>
                <c:pt idx="766">
                  <c:v>0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</c:v>
                </c:pt>
                <c:pt idx="772">
                  <c:v>0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0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</c:v>
                </c:pt>
                <c:pt idx="782">
                  <c:v>0</c:v>
                </c:pt>
                <c:pt idx="783">
                  <c:v>0</c:v>
                </c:pt>
                <c:pt idx="784">
                  <c:v>0</c:v>
                </c:pt>
                <c:pt idx="785">
                  <c:v>0</c:v>
                </c:pt>
                <c:pt idx="786">
                  <c:v>0</c:v>
                </c:pt>
                <c:pt idx="787">
                  <c:v>0</c:v>
                </c:pt>
                <c:pt idx="788">
                  <c:v>0</c:v>
                </c:pt>
                <c:pt idx="789">
                  <c:v>0</c:v>
                </c:pt>
                <c:pt idx="790">
                  <c:v>0</c:v>
                </c:pt>
                <c:pt idx="791">
                  <c:v>0</c:v>
                </c:pt>
                <c:pt idx="792">
                  <c:v>0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0</c:v>
                </c:pt>
                <c:pt idx="797">
                  <c:v>0</c:v>
                </c:pt>
                <c:pt idx="798">
                  <c:v>0</c:v>
                </c:pt>
                <c:pt idx="799">
                  <c:v>0</c:v>
                </c:pt>
                <c:pt idx="800">
                  <c:v>74.3</c:v>
                </c:pt>
                <c:pt idx="801">
                  <c:v>72.099999999999994</c:v>
                </c:pt>
                <c:pt idx="802">
                  <c:v>73.5</c:v>
                </c:pt>
                <c:pt idx="803">
                  <c:v>73.8</c:v>
                </c:pt>
                <c:pt idx="804">
                  <c:v>73.099999999999994</c:v>
                </c:pt>
                <c:pt idx="805">
                  <c:v>74.400000000000006</c:v>
                </c:pt>
                <c:pt idx="806">
                  <c:v>75.7</c:v>
                </c:pt>
                <c:pt idx="807">
                  <c:v>75.7</c:v>
                </c:pt>
                <c:pt idx="808">
                  <c:v>74</c:v>
                </c:pt>
                <c:pt idx="809">
                  <c:v>73.400000000000006</c:v>
                </c:pt>
                <c:pt idx="810">
                  <c:v>71.400000000000006</c:v>
                </c:pt>
                <c:pt idx="811">
                  <c:v>71.900000000000006</c:v>
                </c:pt>
                <c:pt idx="812">
                  <c:v>71.400000000000006</c:v>
                </c:pt>
                <c:pt idx="813">
                  <c:v>72.400000000000006</c:v>
                </c:pt>
                <c:pt idx="814">
                  <c:v>73.7</c:v>
                </c:pt>
                <c:pt idx="815">
                  <c:v>74</c:v>
                </c:pt>
                <c:pt idx="816">
                  <c:v>0</c:v>
                </c:pt>
                <c:pt idx="817">
                  <c:v>0</c:v>
                </c:pt>
                <c:pt idx="818">
                  <c:v>0</c:v>
                </c:pt>
                <c:pt idx="819">
                  <c:v>0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</c:v>
                </c:pt>
                <c:pt idx="824">
                  <c:v>0</c:v>
                </c:pt>
                <c:pt idx="825">
                  <c:v>0</c:v>
                </c:pt>
                <c:pt idx="826">
                  <c:v>0</c:v>
                </c:pt>
                <c:pt idx="827">
                  <c:v>0</c:v>
                </c:pt>
                <c:pt idx="828">
                  <c:v>0</c:v>
                </c:pt>
                <c:pt idx="829">
                  <c:v>0</c:v>
                </c:pt>
                <c:pt idx="830">
                  <c:v>0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0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0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0</c:v>
                </c:pt>
                <c:pt idx="844">
                  <c:v>0</c:v>
                </c:pt>
                <c:pt idx="845">
                  <c:v>0</c:v>
                </c:pt>
                <c:pt idx="846">
                  <c:v>0</c:v>
                </c:pt>
                <c:pt idx="847">
                  <c:v>0</c:v>
                </c:pt>
                <c:pt idx="848">
                  <c:v>0</c:v>
                </c:pt>
                <c:pt idx="849">
                  <c:v>0</c:v>
                </c:pt>
                <c:pt idx="850">
                  <c:v>0</c:v>
                </c:pt>
                <c:pt idx="851">
                  <c:v>0</c:v>
                </c:pt>
                <c:pt idx="852">
                  <c:v>0</c:v>
                </c:pt>
                <c:pt idx="853">
                  <c:v>0</c:v>
                </c:pt>
                <c:pt idx="854">
                  <c:v>0</c:v>
                </c:pt>
                <c:pt idx="855">
                  <c:v>0</c:v>
                </c:pt>
                <c:pt idx="856">
                  <c:v>0</c:v>
                </c:pt>
                <c:pt idx="857">
                  <c:v>0</c:v>
                </c:pt>
                <c:pt idx="858">
                  <c:v>0</c:v>
                </c:pt>
                <c:pt idx="859">
                  <c:v>0</c:v>
                </c:pt>
                <c:pt idx="860">
                  <c:v>0</c:v>
                </c:pt>
                <c:pt idx="861">
                  <c:v>0</c:v>
                </c:pt>
                <c:pt idx="862">
                  <c:v>0</c:v>
                </c:pt>
                <c:pt idx="863">
                  <c:v>0</c:v>
                </c:pt>
                <c:pt idx="864">
                  <c:v>0</c:v>
                </c:pt>
                <c:pt idx="865">
                  <c:v>0</c:v>
                </c:pt>
                <c:pt idx="866">
                  <c:v>0</c:v>
                </c:pt>
                <c:pt idx="867">
                  <c:v>0</c:v>
                </c:pt>
                <c:pt idx="868">
                  <c:v>0</c:v>
                </c:pt>
                <c:pt idx="869">
                  <c:v>0</c:v>
                </c:pt>
                <c:pt idx="870">
                  <c:v>0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0</c:v>
                </c:pt>
                <c:pt idx="875">
                  <c:v>0</c:v>
                </c:pt>
                <c:pt idx="876">
                  <c:v>0</c:v>
                </c:pt>
                <c:pt idx="877">
                  <c:v>0</c:v>
                </c:pt>
                <c:pt idx="878">
                  <c:v>0</c:v>
                </c:pt>
                <c:pt idx="879">
                  <c:v>0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0</c:v>
                </c:pt>
                <c:pt idx="884">
                  <c:v>0</c:v>
                </c:pt>
                <c:pt idx="885">
                  <c:v>0</c:v>
                </c:pt>
                <c:pt idx="886">
                  <c:v>0</c:v>
                </c:pt>
                <c:pt idx="887">
                  <c:v>0</c:v>
                </c:pt>
                <c:pt idx="888">
                  <c:v>0</c:v>
                </c:pt>
                <c:pt idx="889">
                  <c:v>0</c:v>
                </c:pt>
                <c:pt idx="890">
                  <c:v>0</c:v>
                </c:pt>
                <c:pt idx="891">
                  <c:v>0</c:v>
                </c:pt>
                <c:pt idx="892">
                  <c:v>0</c:v>
                </c:pt>
                <c:pt idx="893">
                  <c:v>0</c:v>
                </c:pt>
                <c:pt idx="894">
                  <c:v>0</c:v>
                </c:pt>
                <c:pt idx="895">
                  <c:v>0</c:v>
                </c:pt>
                <c:pt idx="896">
                  <c:v>0</c:v>
                </c:pt>
                <c:pt idx="897">
                  <c:v>0</c:v>
                </c:pt>
                <c:pt idx="898">
                  <c:v>0</c:v>
                </c:pt>
                <c:pt idx="899">
                  <c:v>0</c:v>
                </c:pt>
                <c:pt idx="900">
                  <c:v>62</c:v>
                </c:pt>
                <c:pt idx="901">
                  <c:v>63</c:v>
                </c:pt>
                <c:pt idx="902">
                  <c:v>64.2</c:v>
                </c:pt>
                <c:pt idx="903">
                  <c:v>65.900000000000006</c:v>
                </c:pt>
                <c:pt idx="904">
                  <c:v>68.7</c:v>
                </c:pt>
                <c:pt idx="905">
                  <c:v>70.2</c:v>
                </c:pt>
                <c:pt idx="906">
                  <c:v>72.5</c:v>
                </c:pt>
                <c:pt idx="907">
                  <c:v>74.2</c:v>
                </c:pt>
                <c:pt idx="908">
                  <c:v>76.099999999999994</c:v>
                </c:pt>
                <c:pt idx="909">
                  <c:v>77.900000000000006</c:v>
                </c:pt>
                <c:pt idx="910">
                  <c:v>61.7</c:v>
                </c:pt>
                <c:pt idx="911">
                  <c:v>63.1</c:v>
                </c:pt>
                <c:pt idx="912">
                  <c:v>63</c:v>
                </c:pt>
                <c:pt idx="913">
                  <c:v>65.5</c:v>
                </c:pt>
                <c:pt idx="914">
                  <c:v>67.2</c:v>
                </c:pt>
                <c:pt idx="915">
                  <c:v>69.599999999999994</c:v>
                </c:pt>
                <c:pt idx="916">
                  <c:v>71.5</c:v>
                </c:pt>
                <c:pt idx="917">
                  <c:v>74.2</c:v>
                </c:pt>
                <c:pt idx="918">
                  <c:v>75.7</c:v>
                </c:pt>
                <c:pt idx="919">
                  <c:v>77.5</c:v>
                </c:pt>
                <c:pt idx="920">
                  <c:v>70.099999999999994</c:v>
                </c:pt>
                <c:pt idx="921">
                  <c:v>70.599999999999994</c:v>
                </c:pt>
                <c:pt idx="922">
                  <c:v>70.7</c:v>
                </c:pt>
                <c:pt idx="923">
                  <c:v>72.2</c:v>
                </c:pt>
                <c:pt idx="924">
                  <c:v>73.3</c:v>
                </c:pt>
                <c:pt idx="925">
                  <c:v>75.599999999999994</c:v>
                </c:pt>
                <c:pt idx="926">
                  <c:v>76.3</c:v>
                </c:pt>
                <c:pt idx="927">
                  <c:v>77.7</c:v>
                </c:pt>
                <c:pt idx="928">
                  <c:v>77.2</c:v>
                </c:pt>
                <c:pt idx="929">
                  <c:v>79.2</c:v>
                </c:pt>
                <c:pt idx="930">
                  <c:v>76.900000000000006</c:v>
                </c:pt>
                <c:pt idx="931">
                  <c:v>76.599999999999994</c:v>
                </c:pt>
                <c:pt idx="932">
                  <c:v>78.400000000000006</c:v>
                </c:pt>
                <c:pt idx="933">
                  <c:v>67.8</c:v>
                </c:pt>
                <c:pt idx="934">
                  <c:v>68</c:v>
                </c:pt>
                <c:pt idx="935">
                  <c:v>67.8</c:v>
                </c:pt>
                <c:pt idx="936">
                  <c:v>67.8</c:v>
                </c:pt>
                <c:pt idx="937">
                  <c:v>66.599999999999994</c:v>
                </c:pt>
                <c:pt idx="938">
                  <c:v>67.099999999999994</c:v>
                </c:pt>
                <c:pt idx="939">
                  <c:v>66.8</c:v>
                </c:pt>
                <c:pt idx="940">
                  <c:v>66.8</c:v>
                </c:pt>
                <c:pt idx="941">
                  <c:v>55.8</c:v>
                </c:pt>
                <c:pt idx="942">
                  <c:v>58.3</c:v>
                </c:pt>
                <c:pt idx="943">
                  <c:v>62</c:v>
                </c:pt>
                <c:pt idx="944">
                  <c:v>62</c:v>
                </c:pt>
                <c:pt idx="945">
                  <c:v>63.9</c:v>
                </c:pt>
                <c:pt idx="946">
                  <c:v>66.900000000000006</c:v>
                </c:pt>
                <c:pt idx="947">
                  <c:v>69.099999999999994</c:v>
                </c:pt>
                <c:pt idx="948">
                  <c:v>71.599999999999994</c:v>
                </c:pt>
                <c:pt idx="949">
                  <c:v>73.7</c:v>
                </c:pt>
                <c:pt idx="950">
                  <c:v>75.599999999999994</c:v>
                </c:pt>
                <c:pt idx="951">
                  <c:v>77.599999999999994</c:v>
                </c:pt>
                <c:pt idx="952">
                  <c:v>63.3</c:v>
                </c:pt>
                <c:pt idx="953">
                  <c:v>70.2</c:v>
                </c:pt>
                <c:pt idx="954">
                  <c:v>72.7</c:v>
                </c:pt>
                <c:pt idx="955">
                  <c:v>67.400000000000006</c:v>
                </c:pt>
                <c:pt idx="956">
                  <c:v>78.599999999999994</c:v>
                </c:pt>
                <c:pt idx="957">
                  <c:v>77.8</c:v>
                </c:pt>
                <c:pt idx="958">
                  <c:v>77.900000000000006</c:v>
                </c:pt>
                <c:pt idx="959">
                  <c:v>78.099999999999994</c:v>
                </c:pt>
                <c:pt idx="960">
                  <c:v>77.8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0</c:v>
                </c:pt>
                <c:pt idx="993">
                  <c:v>0</c:v>
                </c:pt>
                <c:pt idx="994">
                  <c:v>0</c:v>
                </c:pt>
                <c:pt idx="995">
                  <c:v>0</c:v>
                </c:pt>
                <c:pt idx="996">
                  <c:v>0</c:v>
                </c:pt>
                <c:pt idx="997">
                  <c:v>0</c:v>
                </c:pt>
                <c:pt idx="998">
                  <c:v>0</c:v>
                </c:pt>
                <c:pt idx="999">
                  <c:v>0</c:v>
                </c:pt>
                <c:pt idx="1000">
                  <c:v>64.5</c:v>
                </c:pt>
                <c:pt idx="1001">
                  <c:v>73.2</c:v>
                </c:pt>
                <c:pt idx="1002">
                  <c:v>60</c:v>
                </c:pt>
                <c:pt idx="1003">
                  <c:v>60.7</c:v>
                </c:pt>
                <c:pt idx="1004">
                  <c:v>63.8</c:v>
                </c:pt>
                <c:pt idx="1005">
                  <c:v>66</c:v>
                </c:pt>
                <c:pt idx="1006">
                  <c:v>69.400000000000006</c:v>
                </c:pt>
                <c:pt idx="1007">
                  <c:v>71.400000000000006</c:v>
                </c:pt>
                <c:pt idx="1008">
                  <c:v>73.099999999999994</c:v>
                </c:pt>
                <c:pt idx="1009">
                  <c:v>74.400000000000006</c:v>
                </c:pt>
                <c:pt idx="1010">
                  <c:v>67.8</c:v>
                </c:pt>
                <c:pt idx="1011">
                  <c:v>67.3</c:v>
                </c:pt>
                <c:pt idx="1012">
                  <c:v>68.099999999999994</c:v>
                </c:pt>
                <c:pt idx="1013">
                  <c:v>63.1</c:v>
                </c:pt>
                <c:pt idx="1014">
                  <c:v>61.2</c:v>
                </c:pt>
                <c:pt idx="1015">
                  <c:v>59.3</c:v>
                </c:pt>
                <c:pt idx="1016">
                  <c:v>58.4</c:v>
                </c:pt>
                <c:pt idx="1017">
                  <c:v>51.2</c:v>
                </c:pt>
                <c:pt idx="1018">
                  <c:v>73.3</c:v>
                </c:pt>
                <c:pt idx="1019">
                  <c:v>57.9</c:v>
                </c:pt>
                <c:pt idx="1020">
                  <c:v>57.2</c:v>
                </c:pt>
                <c:pt idx="1021">
                  <c:v>60.7</c:v>
                </c:pt>
                <c:pt idx="1022">
                  <c:v>64.099999999999994</c:v>
                </c:pt>
                <c:pt idx="1023">
                  <c:v>66.7</c:v>
                </c:pt>
                <c:pt idx="1024">
                  <c:v>70.3</c:v>
                </c:pt>
                <c:pt idx="1025">
                  <c:v>71.7</c:v>
                </c:pt>
                <c:pt idx="1026">
                  <c:v>69.599999999999994</c:v>
                </c:pt>
                <c:pt idx="1027">
                  <c:v>69.599999999999994</c:v>
                </c:pt>
                <c:pt idx="1028">
                  <c:v>70.900000000000006</c:v>
                </c:pt>
                <c:pt idx="1029">
                  <c:v>71.7</c:v>
                </c:pt>
                <c:pt idx="1030">
                  <c:v>73.7</c:v>
                </c:pt>
                <c:pt idx="1031">
                  <c:v>74.2</c:v>
                </c:pt>
                <c:pt idx="1032">
                  <c:v>75.599999999999994</c:v>
                </c:pt>
                <c:pt idx="1033">
                  <c:v>75.400000000000006</c:v>
                </c:pt>
                <c:pt idx="1034">
                  <c:v>74.400000000000006</c:v>
                </c:pt>
                <c:pt idx="1035">
                  <c:v>64.900000000000006</c:v>
                </c:pt>
                <c:pt idx="1036">
                  <c:v>66</c:v>
                </c:pt>
                <c:pt idx="1037">
                  <c:v>68.599999999999994</c:v>
                </c:pt>
                <c:pt idx="1038">
                  <c:v>70.3</c:v>
                </c:pt>
                <c:pt idx="1039">
                  <c:v>72.5</c:v>
                </c:pt>
                <c:pt idx="1040">
                  <c:v>74.3</c:v>
                </c:pt>
                <c:pt idx="1041">
                  <c:v>75.3</c:v>
                </c:pt>
                <c:pt idx="1042">
                  <c:v>74.599999999999994</c:v>
                </c:pt>
                <c:pt idx="1043">
                  <c:v>61.2</c:v>
                </c:pt>
                <c:pt idx="1044">
                  <c:v>63.6</c:v>
                </c:pt>
                <c:pt idx="1045">
                  <c:v>65.5</c:v>
                </c:pt>
                <c:pt idx="1046">
                  <c:v>68.5</c:v>
                </c:pt>
                <c:pt idx="1047">
                  <c:v>70.900000000000006</c:v>
                </c:pt>
                <c:pt idx="1048">
                  <c:v>73.400000000000006</c:v>
                </c:pt>
                <c:pt idx="1049">
                  <c:v>73.900000000000006</c:v>
                </c:pt>
                <c:pt idx="1050">
                  <c:v>59.7</c:v>
                </c:pt>
                <c:pt idx="1051">
                  <c:v>59.4</c:v>
                </c:pt>
                <c:pt idx="1052">
                  <c:v>63</c:v>
                </c:pt>
                <c:pt idx="1053">
                  <c:v>65.7</c:v>
                </c:pt>
                <c:pt idx="1054">
                  <c:v>69.400000000000006</c:v>
                </c:pt>
                <c:pt idx="1055">
                  <c:v>72.2</c:v>
                </c:pt>
                <c:pt idx="1056">
                  <c:v>73.2</c:v>
                </c:pt>
                <c:pt idx="1057">
                  <c:v>74.400000000000006</c:v>
                </c:pt>
                <c:pt idx="1058">
                  <c:v>67.900000000000006</c:v>
                </c:pt>
                <c:pt idx="1059">
                  <c:v>63.2</c:v>
                </c:pt>
                <c:pt idx="1060">
                  <c:v>63.2</c:v>
                </c:pt>
                <c:pt idx="1061">
                  <c:v>61.8</c:v>
                </c:pt>
                <c:pt idx="1062">
                  <c:v>58.8</c:v>
                </c:pt>
                <c:pt idx="1063">
                  <c:v>59.3</c:v>
                </c:pt>
                <c:pt idx="1064">
                  <c:v>57.8</c:v>
                </c:pt>
                <c:pt idx="1065">
                  <c:v>50.1</c:v>
                </c:pt>
                <c:pt idx="1066">
                  <c:v>59.7</c:v>
                </c:pt>
                <c:pt idx="1067">
                  <c:v>57</c:v>
                </c:pt>
                <c:pt idx="1068">
                  <c:v>61.7</c:v>
                </c:pt>
                <c:pt idx="1069">
                  <c:v>65</c:v>
                </c:pt>
                <c:pt idx="1070">
                  <c:v>68.599999999999994</c:v>
                </c:pt>
                <c:pt idx="1071">
                  <c:v>71.8</c:v>
                </c:pt>
                <c:pt idx="1072">
                  <c:v>74.400000000000006</c:v>
                </c:pt>
                <c:pt idx="1073">
                  <c:v>72.599999999999994</c:v>
                </c:pt>
                <c:pt idx="1074">
                  <c:v>68.900000000000006</c:v>
                </c:pt>
                <c:pt idx="1075">
                  <c:v>74</c:v>
                </c:pt>
                <c:pt idx="1076">
                  <c:v>75.3</c:v>
                </c:pt>
                <c:pt idx="1077">
                  <c:v>63.6</c:v>
                </c:pt>
                <c:pt idx="1078">
                  <c:v>65.3</c:v>
                </c:pt>
                <c:pt idx="1079">
                  <c:v>65.7</c:v>
                </c:pt>
                <c:pt idx="1080">
                  <c:v>68.900000000000006</c:v>
                </c:pt>
                <c:pt idx="1081">
                  <c:v>70.7</c:v>
                </c:pt>
                <c:pt idx="1082">
                  <c:v>73.8</c:v>
                </c:pt>
                <c:pt idx="1083">
                  <c:v>74.099999999999994</c:v>
                </c:pt>
                <c:pt idx="1084">
                  <c:v>59.6</c:v>
                </c:pt>
                <c:pt idx="1085">
                  <c:v>61.2</c:v>
                </c:pt>
                <c:pt idx="1086">
                  <c:v>63.1</c:v>
                </c:pt>
                <c:pt idx="1087">
                  <c:v>66.7</c:v>
                </c:pt>
                <c:pt idx="1088">
                  <c:v>70</c:v>
                </c:pt>
                <c:pt idx="1089">
                  <c:v>72.099999999999994</c:v>
                </c:pt>
                <c:pt idx="1090">
                  <c:v>73.3</c:v>
                </c:pt>
                <c:pt idx="1091">
                  <c:v>74.599999999999994</c:v>
                </c:pt>
                <c:pt idx="1092">
                  <c:v>68.099999999999994</c:v>
                </c:pt>
                <c:pt idx="1093">
                  <c:v>68.599999999999994</c:v>
                </c:pt>
                <c:pt idx="1094">
                  <c:v>66.900000000000006</c:v>
                </c:pt>
                <c:pt idx="1095">
                  <c:v>62</c:v>
                </c:pt>
                <c:pt idx="1096">
                  <c:v>60.6</c:v>
                </c:pt>
                <c:pt idx="1097">
                  <c:v>0</c:v>
                </c:pt>
                <c:pt idx="1098">
                  <c:v>0</c:v>
                </c:pt>
                <c:pt idx="1099">
                  <c:v>0</c:v>
                </c:pt>
                <c:pt idx="1100">
                  <c:v>71</c:v>
                </c:pt>
                <c:pt idx="1101">
                  <c:v>71.2</c:v>
                </c:pt>
                <c:pt idx="1102">
                  <c:v>69.5</c:v>
                </c:pt>
                <c:pt idx="1103">
                  <c:v>71.099999999999994</c:v>
                </c:pt>
                <c:pt idx="1104">
                  <c:v>70.3</c:v>
                </c:pt>
                <c:pt idx="1105">
                  <c:v>70.400000000000006</c:v>
                </c:pt>
                <c:pt idx="1106">
                  <c:v>71.099999999999994</c:v>
                </c:pt>
                <c:pt idx="1107">
                  <c:v>72.5</c:v>
                </c:pt>
                <c:pt idx="1108">
                  <c:v>73.599999999999994</c:v>
                </c:pt>
                <c:pt idx="1109">
                  <c:v>74.7</c:v>
                </c:pt>
                <c:pt idx="1110">
                  <c:v>61.5</c:v>
                </c:pt>
                <c:pt idx="1111">
                  <c:v>67</c:v>
                </c:pt>
                <c:pt idx="1112">
                  <c:v>66</c:v>
                </c:pt>
                <c:pt idx="1113">
                  <c:v>61.7</c:v>
                </c:pt>
                <c:pt idx="1114">
                  <c:v>61.8</c:v>
                </c:pt>
                <c:pt idx="1115">
                  <c:v>67.3</c:v>
                </c:pt>
                <c:pt idx="1116">
                  <c:v>64.5</c:v>
                </c:pt>
                <c:pt idx="1117">
                  <c:v>61.6</c:v>
                </c:pt>
                <c:pt idx="1118">
                  <c:v>63.7</c:v>
                </c:pt>
                <c:pt idx="1119">
                  <c:v>63.4</c:v>
                </c:pt>
                <c:pt idx="1120">
                  <c:v>65.5</c:v>
                </c:pt>
                <c:pt idx="1121">
                  <c:v>64.900000000000006</c:v>
                </c:pt>
                <c:pt idx="1122">
                  <c:v>68.900000000000006</c:v>
                </c:pt>
                <c:pt idx="1123">
                  <c:v>66.900000000000006</c:v>
                </c:pt>
                <c:pt idx="1124">
                  <c:v>68.400000000000006</c:v>
                </c:pt>
                <c:pt idx="1125">
                  <c:v>67.7</c:v>
                </c:pt>
                <c:pt idx="1126">
                  <c:v>69.400000000000006</c:v>
                </c:pt>
                <c:pt idx="1127">
                  <c:v>69</c:v>
                </c:pt>
                <c:pt idx="1128">
                  <c:v>70.400000000000006</c:v>
                </c:pt>
                <c:pt idx="1129">
                  <c:v>74.599999999999994</c:v>
                </c:pt>
                <c:pt idx="1130">
                  <c:v>59</c:v>
                </c:pt>
                <c:pt idx="1131">
                  <c:v>59.5</c:v>
                </c:pt>
                <c:pt idx="1132">
                  <c:v>60.2</c:v>
                </c:pt>
                <c:pt idx="1133">
                  <c:v>62.2</c:v>
                </c:pt>
                <c:pt idx="1134">
                  <c:v>64.5</c:v>
                </c:pt>
                <c:pt idx="1135">
                  <c:v>66.900000000000006</c:v>
                </c:pt>
                <c:pt idx="1136">
                  <c:v>68.7</c:v>
                </c:pt>
                <c:pt idx="1137">
                  <c:v>70.599999999999994</c:v>
                </c:pt>
                <c:pt idx="1138">
                  <c:v>72.2</c:v>
                </c:pt>
                <c:pt idx="1139">
                  <c:v>73.7</c:v>
                </c:pt>
                <c:pt idx="1140">
                  <c:v>0</c:v>
                </c:pt>
                <c:pt idx="1141">
                  <c:v>0</c:v>
                </c:pt>
                <c:pt idx="1142">
                  <c:v>0</c:v>
                </c:pt>
                <c:pt idx="1143">
                  <c:v>0</c:v>
                </c:pt>
                <c:pt idx="1144">
                  <c:v>0</c:v>
                </c:pt>
                <c:pt idx="1145">
                  <c:v>0</c:v>
                </c:pt>
                <c:pt idx="1146">
                  <c:v>0</c:v>
                </c:pt>
                <c:pt idx="1147">
                  <c:v>0</c:v>
                </c:pt>
                <c:pt idx="1148">
                  <c:v>0</c:v>
                </c:pt>
                <c:pt idx="1149">
                  <c:v>0</c:v>
                </c:pt>
                <c:pt idx="1150">
                  <c:v>0</c:v>
                </c:pt>
                <c:pt idx="1151">
                  <c:v>0</c:v>
                </c:pt>
                <c:pt idx="1152">
                  <c:v>0</c:v>
                </c:pt>
                <c:pt idx="1153">
                  <c:v>0</c:v>
                </c:pt>
                <c:pt idx="1154">
                  <c:v>0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0</c:v>
                </c:pt>
                <c:pt idx="1159">
                  <c:v>0</c:v>
                </c:pt>
                <c:pt idx="1160">
                  <c:v>0</c:v>
                </c:pt>
                <c:pt idx="1161">
                  <c:v>0</c:v>
                </c:pt>
                <c:pt idx="1162">
                  <c:v>0</c:v>
                </c:pt>
                <c:pt idx="1163">
                  <c:v>0</c:v>
                </c:pt>
                <c:pt idx="1164">
                  <c:v>0</c:v>
                </c:pt>
                <c:pt idx="1165">
                  <c:v>0</c:v>
                </c:pt>
                <c:pt idx="1166">
                  <c:v>0</c:v>
                </c:pt>
                <c:pt idx="1167">
                  <c:v>0</c:v>
                </c:pt>
                <c:pt idx="1168">
                  <c:v>0</c:v>
                </c:pt>
                <c:pt idx="1169">
                  <c:v>0</c:v>
                </c:pt>
                <c:pt idx="1170">
                  <c:v>0</c:v>
                </c:pt>
                <c:pt idx="1171">
                  <c:v>0</c:v>
                </c:pt>
                <c:pt idx="1172">
                  <c:v>0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0</c:v>
                </c:pt>
                <c:pt idx="1177">
                  <c:v>0</c:v>
                </c:pt>
                <c:pt idx="1178">
                  <c:v>0</c:v>
                </c:pt>
                <c:pt idx="1179">
                  <c:v>0</c:v>
                </c:pt>
                <c:pt idx="1180">
                  <c:v>0</c:v>
                </c:pt>
                <c:pt idx="1181">
                  <c:v>0</c:v>
                </c:pt>
                <c:pt idx="1182">
                  <c:v>0</c:v>
                </c:pt>
                <c:pt idx="1183">
                  <c:v>0</c:v>
                </c:pt>
                <c:pt idx="1184">
                  <c:v>0</c:v>
                </c:pt>
                <c:pt idx="1185">
                  <c:v>0</c:v>
                </c:pt>
                <c:pt idx="1186">
                  <c:v>0</c:v>
                </c:pt>
                <c:pt idx="1187">
                  <c:v>0</c:v>
                </c:pt>
                <c:pt idx="1188">
                  <c:v>0</c:v>
                </c:pt>
                <c:pt idx="1189">
                  <c:v>0</c:v>
                </c:pt>
                <c:pt idx="1190">
                  <c:v>0</c:v>
                </c:pt>
                <c:pt idx="1191">
                  <c:v>0</c:v>
                </c:pt>
                <c:pt idx="1192">
                  <c:v>0</c:v>
                </c:pt>
                <c:pt idx="1193">
                  <c:v>0</c:v>
                </c:pt>
                <c:pt idx="1194">
                  <c:v>0</c:v>
                </c:pt>
                <c:pt idx="1195">
                  <c:v>0</c:v>
                </c:pt>
                <c:pt idx="1196">
                  <c:v>0</c:v>
                </c:pt>
                <c:pt idx="1197">
                  <c:v>0</c:v>
                </c:pt>
                <c:pt idx="1198">
                  <c:v>0</c:v>
                </c:pt>
                <c:pt idx="1199">
                  <c:v>0</c:v>
                </c:pt>
                <c:pt idx="1200">
                  <c:v>0</c:v>
                </c:pt>
                <c:pt idx="1201">
                  <c:v>0</c:v>
                </c:pt>
                <c:pt idx="1202">
                  <c:v>0</c:v>
                </c:pt>
                <c:pt idx="1203">
                  <c:v>0</c:v>
                </c:pt>
                <c:pt idx="1204">
                  <c:v>0</c:v>
                </c:pt>
                <c:pt idx="1205">
                  <c:v>0</c:v>
                </c:pt>
                <c:pt idx="1206">
                  <c:v>0</c:v>
                </c:pt>
                <c:pt idx="1207">
                  <c:v>0</c:v>
                </c:pt>
                <c:pt idx="1208">
                  <c:v>0</c:v>
                </c:pt>
                <c:pt idx="1209">
                  <c:v>0</c:v>
                </c:pt>
                <c:pt idx="1210">
                  <c:v>0</c:v>
                </c:pt>
                <c:pt idx="1211">
                  <c:v>0</c:v>
                </c:pt>
                <c:pt idx="1212">
                  <c:v>0</c:v>
                </c:pt>
                <c:pt idx="1213">
                  <c:v>0</c:v>
                </c:pt>
                <c:pt idx="1214">
                  <c:v>0</c:v>
                </c:pt>
                <c:pt idx="1215">
                  <c:v>0</c:v>
                </c:pt>
                <c:pt idx="1216">
                  <c:v>0</c:v>
                </c:pt>
                <c:pt idx="1217">
                  <c:v>0</c:v>
                </c:pt>
                <c:pt idx="1218">
                  <c:v>0</c:v>
                </c:pt>
                <c:pt idx="1219">
                  <c:v>0</c:v>
                </c:pt>
                <c:pt idx="1220">
                  <c:v>0</c:v>
                </c:pt>
                <c:pt idx="1221">
                  <c:v>0</c:v>
                </c:pt>
                <c:pt idx="1222">
                  <c:v>0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</c:v>
                </c:pt>
                <c:pt idx="1227">
                  <c:v>0</c:v>
                </c:pt>
                <c:pt idx="1228">
                  <c:v>0</c:v>
                </c:pt>
                <c:pt idx="1229">
                  <c:v>0</c:v>
                </c:pt>
                <c:pt idx="1230">
                  <c:v>0</c:v>
                </c:pt>
                <c:pt idx="1231">
                  <c:v>0</c:v>
                </c:pt>
                <c:pt idx="1232">
                  <c:v>0</c:v>
                </c:pt>
                <c:pt idx="1233">
                  <c:v>0</c:v>
                </c:pt>
                <c:pt idx="1234">
                  <c:v>0</c:v>
                </c:pt>
                <c:pt idx="1235">
                  <c:v>0</c:v>
                </c:pt>
                <c:pt idx="1236">
                  <c:v>0</c:v>
                </c:pt>
                <c:pt idx="1237">
                  <c:v>0</c:v>
                </c:pt>
                <c:pt idx="1238">
                  <c:v>0</c:v>
                </c:pt>
                <c:pt idx="1239">
                  <c:v>0</c:v>
                </c:pt>
                <c:pt idx="1240">
                  <c:v>0</c:v>
                </c:pt>
                <c:pt idx="1241">
                  <c:v>0</c:v>
                </c:pt>
                <c:pt idx="1242">
                  <c:v>0</c:v>
                </c:pt>
                <c:pt idx="1243">
                  <c:v>0</c:v>
                </c:pt>
                <c:pt idx="1244">
                  <c:v>0</c:v>
                </c:pt>
                <c:pt idx="1245">
                  <c:v>0</c:v>
                </c:pt>
                <c:pt idx="1246">
                  <c:v>0</c:v>
                </c:pt>
                <c:pt idx="1247">
                  <c:v>0</c:v>
                </c:pt>
                <c:pt idx="1248">
                  <c:v>0</c:v>
                </c:pt>
                <c:pt idx="1249">
                  <c:v>0</c:v>
                </c:pt>
                <c:pt idx="1250">
                  <c:v>0</c:v>
                </c:pt>
                <c:pt idx="1251">
                  <c:v>0</c:v>
                </c:pt>
                <c:pt idx="1252">
                  <c:v>0</c:v>
                </c:pt>
                <c:pt idx="1253">
                  <c:v>0</c:v>
                </c:pt>
                <c:pt idx="1254">
                  <c:v>0</c:v>
                </c:pt>
                <c:pt idx="1255">
                  <c:v>0</c:v>
                </c:pt>
                <c:pt idx="1256">
                  <c:v>0</c:v>
                </c:pt>
                <c:pt idx="1257">
                  <c:v>0</c:v>
                </c:pt>
                <c:pt idx="1258">
                  <c:v>0</c:v>
                </c:pt>
                <c:pt idx="1259">
                  <c:v>0</c:v>
                </c:pt>
                <c:pt idx="1260">
                  <c:v>0</c:v>
                </c:pt>
                <c:pt idx="1261">
                  <c:v>0</c:v>
                </c:pt>
                <c:pt idx="1262">
                  <c:v>0</c:v>
                </c:pt>
                <c:pt idx="1263">
                  <c:v>0</c:v>
                </c:pt>
                <c:pt idx="1264">
                  <c:v>0</c:v>
                </c:pt>
                <c:pt idx="1265">
                  <c:v>0</c:v>
                </c:pt>
                <c:pt idx="1266">
                  <c:v>0</c:v>
                </c:pt>
                <c:pt idx="1267">
                  <c:v>0</c:v>
                </c:pt>
                <c:pt idx="1268">
                  <c:v>0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0</c:v>
                </c:pt>
                <c:pt idx="1273">
                  <c:v>0</c:v>
                </c:pt>
                <c:pt idx="1274">
                  <c:v>0</c:v>
                </c:pt>
                <c:pt idx="1275">
                  <c:v>0</c:v>
                </c:pt>
                <c:pt idx="1276">
                  <c:v>0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0</c:v>
                </c:pt>
                <c:pt idx="1282">
                  <c:v>0</c:v>
                </c:pt>
                <c:pt idx="1283">
                  <c:v>0</c:v>
                </c:pt>
                <c:pt idx="1284">
                  <c:v>0</c:v>
                </c:pt>
                <c:pt idx="1285">
                  <c:v>0</c:v>
                </c:pt>
                <c:pt idx="1286">
                  <c:v>0</c:v>
                </c:pt>
                <c:pt idx="1287">
                  <c:v>0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  <c:pt idx="1319">
                  <c:v>0</c:v>
                </c:pt>
                <c:pt idx="1320">
                  <c:v>0</c:v>
                </c:pt>
                <c:pt idx="1321">
                  <c:v>0</c:v>
                </c:pt>
                <c:pt idx="1322">
                  <c:v>0</c:v>
                </c:pt>
                <c:pt idx="1323">
                  <c:v>0</c:v>
                </c:pt>
                <c:pt idx="1324">
                  <c:v>0</c:v>
                </c:pt>
                <c:pt idx="1325">
                  <c:v>0</c:v>
                </c:pt>
                <c:pt idx="1326">
                  <c:v>0</c:v>
                </c:pt>
                <c:pt idx="1327">
                  <c:v>0</c:v>
                </c:pt>
                <c:pt idx="1328">
                  <c:v>0</c:v>
                </c:pt>
                <c:pt idx="1329">
                  <c:v>0</c:v>
                </c:pt>
                <c:pt idx="1330">
                  <c:v>0</c:v>
                </c:pt>
                <c:pt idx="1331">
                  <c:v>0</c:v>
                </c:pt>
                <c:pt idx="1332">
                  <c:v>0</c:v>
                </c:pt>
                <c:pt idx="1333">
                  <c:v>0</c:v>
                </c:pt>
                <c:pt idx="1334">
                  <c:v>0</c:v>
                </c:pt>
                <c:pt idx="1335">
                  <c:v>0</c:v>
                </c:pt>
                <c:pt idx="1336">
                  <c:v>0</c:v>
                </c:pt>
                <c:pt idx="1337">
                  <c:v>0</c:v>
                </c:pt>
                <c:pt idx="1338">
                  <c:v>0</c:v>
                </c:pt>
                <c:pt idx="1339">
                  <c:v>0</c:v>
                </c:pt>
                <c:pt idx="1340">
                  <c:v>0</c:v>
                </c:pt>
                <c:pt idx="1341">
                  <c:v>0</c:v>
                </c:pt>
                <c:pt idx="1342">
                  <c:v>0</c:v>
                </c:pt>
                <c:pt idx="1343">
                  <c:v>0</c:v>
                </c:pt>
                <c:pt idx="1344">
                  <c:v>0</c:v>
                </c:pt>
                <c:pt idx="1345">
                  <c:v>0</c:v>
                </c:pt>
                <c:pt idx="1346">
                  <c:v>0</c:v>
                </c:pt>
                <c:pt idx="1347">
                  <c:v>0</c:v>
                </c:pt>
                <c:pt idx="1348">
                  <c:v>0</c:v>
                </c:pt>
                <c:pt idx="1349">
                  <c:v>0</c:v>
                </c:pt>
                <c:pt idx="1350">
                  <c:v>0</c:v>
                </c:pt>
                <c:pt idx="1351">
                  <c:v>0</c:v>
                </c:pt>
                <c:pt idx="1352">
                  <c:v>0</c:v>
                </c:pt>
                <c:pt idx="1353">
                  <c:v>0</c:v>
                </c:pt>
                <c:pt idx="1354">
                  <c:v>0</c:v>
                </c:pt>
                <c:pt idx="1355">
                  <c:v>0</c:v>
                </c:pt>
                <c:pt idx="1356">
                  <c:v>0</c:v>
                </c:pt>
                <c:pt idx="1357">
                  <c:v>0</c:v>
                </c:pt>
                <c:pt idx="1358">
                  <c:v>0</c:v>
                </c:pt>
                <c:pt idx="1359">
                  <c:v>0</c:v>
                </c:pt>
                <c:pt idx="1360">
                  <c:v>0</c:v>
                </c:pt>
                <c:pt idx="1361">
                  <c:v>0</c:v>
                </c:pt>
                <c:pt idx="1362">
                  <c:v>0</c:v>
                </c:pt>
                <c:pt idx="1363">
                  <c:v>0</c:v>
                </c:pt>
                <c:pt idx="1364">
                  <c:v>0</c:v>
                </c:pt>
                <c:pt idx="1365">
                  <c:v>0</c:v>
                </c:pt>
                <c:pt idx="1366">
                  <c:v>0</c:v>
                </c:pt>
                <c:pt idx="1367">
                  <c:v>0</c:v>
                </c:pt>
                <c:pt idx="1368">
                  <c:v>0</c:v>
                </c:pt>
                <c:pt idx="1369">
                  <c:v>0</c:v>
                </c:pt>
                <c:pt idx="1370">
                  <c:v>0</c:v>
                </c:pt>
                <c:pt idx="1371">
                  <c:v>0</c:v>
                </c:pt>
                <c:pt idx="1372">
                  <c:v>0</c:v>
                </c:pt>
                <c:pt idx="1373">
                  <c:v>0</c:v>
                </c:pt>
                <c:pt idx="1374">
                  <c:v>0</c:v>
                </c:pt>
                <c:pt idx="1375">
                  <c:v>0</c:v>
                </c:pt>
                <c:pt idx="1376">
                  <c:v>0</c:v>
                </c:pt>
                <c:pt idx="1377">
                  <c:v>0</c:v>
                </c:pt>
                <c:pt idx="1378">
                  <c:v>0</c:v>
                </c:pt>
                <c:pt idx="1379">
                  <c:v>0</c:v>
                </c:pt>
                <c:pt idx="1380">
                  <c:v>0</c:v>
                </c:pt>
                <c:pt idx="1381">
                  <c:v>0</c:v>
                </c:pt>
                <c:pt idx="1382">
                  <c:v>0</c:v>
                </c:pt>
                <c:pt idx="1383">
                  <c:v>0</c:v>
                </c:pt>
                <c:pt idx="1384">
                  <c:v>0</c:v>
                </c:pt>
                <c:pt idx="1385">
                  <c:v>0</c:v>
                </c:pt>
                <c:pt idx="1386">
                  <c:v>0</c:v>
                </c:pt>
                <c:pt idx="1387">
                  <c:v>0</c:v>
                </c:pt>
                <c:pt idx="1388">
                  <c:v>0</c:v>
                </c:pt>
                <c:pt idx="1389">
                  <c:v>0</c:v>
                </c:pt>
                <c:pt idx="1390">
                  <c:v>0</c:v>
                </c:pt>
                <c:pt idx="1391">
                  <c:v>0</c:v>
                </c:pt>
                <c:pt idx="1392">
                  <c:v>0</c:v>
                </c:pt>
                <c:pt idx="1393">
                  <c:v>0</c:v>
                </c:pt>
                <c:pt idx="1394">
                  <c:v>0</c:v>
                </c:pt>
                <c:pt idx="1395">
                  <c:v>0</c:v>
                </c:pt>
                <c:pt idx="1396">
                  <c:v>0</c:v>
                </c:pt>
                <c:pt idx="1397">
                  <c:v>0</c:v>
                </c:pt>
                <c:pt idx="1398">
                  <c:v>0</c:v>
                </c:pt>
                <c:pt idx="1399">
                  <c:v>0</c:v>
                </c:pt>
                <c:pt idx="1400">
                  <c:v>0</c:v>
                </c:pt>
                <c:pt idx="1401">
                  <c:v>0</c:v>
                </c:pt>
                <c:pt idx="1402">
                  <c:v>0</c:v>
                </c:pt>
                <c:pt idx="1403">
                  <c:v>0</c:v>
                </c:pt>
                <c:pt idx="1404">
                  <c:v>0</c:v>
                </c:pt>
                <c:pt idx="1405">
                  <c:v>0</c:v>
                </c:pt>
                <c:pt idx="1406">
                  <c:v>0</c:v>
                </c:pt>
                <c:pt idx="1407">
                  <c:v>0</c:v>
                </c:pt>
                <c:pt idx="1408">
                  <c:v>0</c:v>
                </c:pt>
                <c:pt idx="1409">
                  <c:v>0</c:v>
                </c:pt>
                <c:pt idx="1410">
                  <c:v>0</c:v>
                </c:pt>
                <c:pt idx="1411">
                  <c:v>0</c:v>
                </c:pt>
                <c:pt idx="1412">
                  <c:v>0</c:v>
                </c:pt>
                <c:pt idx="1413">
                  <c:v>0</c:v>
                </c:pt>
                <c:pt idx="1414">
                  <c:v>0</c:v>
                </c:pt>
                <c:pt idx="1415">
                  <c:v>0</c:v>
                </c:pt>
                <c:pt idx="1416">
                  <c:v>0</c:v>
                </c:pt>
                <c:pt idx="1417">
                  <c:v>0</c:v>
                </c:pt>
                <c:pt idx="1418">
                  <c:v>0</c:v>
                </c:pt>
                <c:pt idx="1419">
                  <c:v>0</c:v>
                </c:pt>
                <c:pt idx="1420">
                  <c:v>0</c:v>
                </c:pt>
                <c:pt idx="1421">
                  <c:v>0</c:v>
                </c:pt>
                <c:pt idx="1422">
                  <c:v>0</c:v>
                </c:pt>
                <c:pt idx="1423">
                  <c:v>0</c:v>
                </c:pt>
                <c:pt idx="1424">
                  <c:v>0</c:v>
                </c:pt>
                <c:pt idx="1425">
                  <c:v>0</c:v>
                </c:pt>
                <c:pt idx="1426">
                  <c:v>0</c:v>
                </c:pt>
                <c:pt idx="1427">
                  <c:v>0</c:v>
                </c:pt>
                <c:pt idx="1428">
                  <c:v>0</c:v>
                </c:pt>
                <c:pt idx="1429">
                  <c:v>0</c:v>
                </c:pt>
                <c:pt idx="1430">
                  <c:v>0</c:v>
                </c:pt>
                <c:pt idx="1431">
                  <c:v>0</c:v>
                </c:pt>
                <c:pt idx="1432">
                  <c:v>0</c:v>
                </c:pt>
                <c:pt idx="1433">
                  <c:v>0</c:v>
                </c:pt>
                <c:pt idx="1434">
                  <c:v>0</c:v>
                </c:pt>
                <c:pt idx="1435">
                  <c:v>0</c:v>
                </c:pt>
                <c:pt idx="1436">
                  <c:v>0</c:v>
                </c:pt>
                <c:pt idx="1437">
                  <c:v>0</c:v>
                </c:pt>
                <c:pt idx="1438">
                  <c:v>0</c:v>
                </c:pt>
                <c:pt idx="1439">
                  <c:v>0</c:v>
                </c:pt>
                <c:pt idx="1440">
                  <c:v>0</c:v>
                </c:pt>
                <c:pt idx="1441">
                  <c:v>0</c:v>
                </c:pt>
                <c:pt idx="1442">
                  <c:v>0</c:v>
                </c:pt>
                <c:pt idx="1443">
                  <c:v>0</c:v>
                </c:pt>
                <c:pt idx="1444">
                  <c:v>0</c:v>
                </c:pt>
                <c:pt idx="1445">
                  <c:v>0</c:v>
                </c:pt>
                <c:pt idx="1446">
                  <c:v>0</c:v>
                </c:pt>
                <c:pt idx="1447">
                  <c:v>0</c:v>
                </c:pt>
                <c:pt idx="1448">
                  <c:v>0</c:v>
                </c:pt>
                <c:pt idx="1449">
                  <c:v>0</c:v>
                </c:pt>
                <c:pt idx="1450">
                  <c:v>0</c:v>
                </c:pt>
                <c:pt idx="1451">
                  <c:v>0</c:v>
                </c:pt>
                <c:pt idx="1452">
                  <c:v>0</c:v>
                </c:pt>
                <c:pt idx="1453">
                  <c:v>0</c:v>
                </c:pt>
                <c:pt idx="1454">
                  <c:v>0</c:v>
                </c:pt>
                <c:pt idx="1455">
                  <c:v>0</c:v>
                </c:pt>
                <c:pt idx="1456">
                  <c:v>0</c:v>
                </c:pt>
                <c:pt idx="1457">
                  <c:v>0</c:v>
                </c:pt>
                <c:pt idx="1458">
                  <c:v>0</c:v>
                </c:pt>
                <c:pt idx="1459">
                  <c:v>0</c:v>
                </c:pt>
                <c:pt idx="1460">
                  <c:v>0</c:v>
                </c:pt>
                <c:pt idx="1461">
                  <c:v>0</c:v>
                </c:pt>
                <c:pt idx="1462">
                  <c:v>0</c:v>
                </c:pt>
                <c:pt idx="1463">
                  <c:v>0</c:v>
                </c:pt>
                <c:pt idx="1464">
                  <c:v>0</c:v>
                </c:pt>
                <c:pt idx="1465">
                  <c:v>0</c:v>
                </c:pt>
                <c:pt idx="1466">
                  <c:v>0</c:v>
                </c:pt>
                <c:pt idx="1467">
                  <c:v>0</c:v>
                </c:pt>
                <c:pt idx="1468">
                  <c:v>0</c:v>
                </c:pt>
                <c:pt idx="1469">
                  <c:v>0</c:v>
                </c:pt>
                <c:pt idx="1470">
                  <c:v>0</c:v>
                </c:pt>
                <c:pt idx="1471">
                  <c:v>0</c:v>
                </c:pt>
                <c:pt idx="1472">
                  <c:v>0</c:v>
                </c:pt>
                <c:pt idx="1473">
                  <c:v>0</c:v>
                </c:pt>
                <c:pt idx="1474">
                  <c:v>0</c:v>
                </c:pt>
                <c:pt idx="1475">
                  <c:v>0</c:v>
                </c:pt>
                <c:pt idx="1476">
                  <c:v>0</c:v>
                </c:pt>
                <c:pt idx="1477">
                  <c:v>0</c:v>
                </c:pt>
                <c:pt idx="1478">
                  <c:v>0</c:v>
                </c:pt>
                <c:pt idx="1479">
                  <c:v>0</c:v>
                </c:pt>
                <c:pt idx="1480">
                  <c:v>0</c:v>
                </c:pt>
                <c:pt idx="1481">
                  <c:v>0</c:v>
                </c:pt>
                <c:pt idx="1482">
                  <c:v>0</c:v>
                </c:pt>
                <c:pt idx="1483">
                  <c:v>0</c:v>
                </c:pt>
                <c:pt idx="1484">
                  <c:v>0</c:v>
                </c:pt>
                <c:pt idx="1485">
                  <c:v>0</c:v>
                </c:pt>
                <c:pt idx="1486">
                  <c:v>0</c:v>
                </c:pt>
                <c:pt idx="1487">
                  <c:v>0</c:v>
                </c:pt>
                <c:pt idx="1488">
                  <c:v>0</c:v>
                </c:pt>
                <c:pt idx="1489">
                  <c:v>0</c:v>
                </c:pt>
                <c:pt idx="1490">
                  <c:v>0</c:v>
                </c:pt>
                <c:pt idx="1491">
                  <c:v>0</c:v>
                </c:pt>
                <c:pt idx="1492">
                  <c:v>0</c:v>
                </c:pt>
                <c:pt idx="1493">
                  <c:v>0</c:v>
                </c:pt>
                <c:pt idx="1494">
                  <c:v>0</c:v>
                </c:pt>
                <c:pt idx="1495">
                  <c:v>0</c:v>
                </c:pt>
                <c:pt idx="1496">
                  <c:v>0</c:v>
                </c:pt>
                <c:pt idx="1497">
                  <c:v>0</c:v>
                </c:pt>
                <c:pt idx="1498">
                  <c:v>0</c:v>
                </c:pt>
                <c:pt idx="1499">
                  <c:v>0</c:v>
                </c:pt>
                <c:pt idx="1500">
                  <c:v>0</c:v>
                </c:pt>
                <c:pt idx="1501">
                  <c:v>0</c:v>
                </c:pt>
                <c:pt idx="1502">
                  <c:v>0</c:v>
                </c:pt>
                <c:pt idx="1503">
                  <c:v>0</c:v>
                </c:pt>
                <c:pt idx="1504">
                  <c:v>0</c:v>
                </c:pt>
                <c:pt idx="1505">
                  <c:v>0</c:v>
                </c:pt>
                <c:pt idx="1506">
                  <c:v>0</c:v>
                </c:pt>
                <c:pt idx="1507">
                  <c:v>0</c:v>
                </c:pt>
                <c:pt idx="1508">
                  <c:v>0</c:v>
                </c:pt>
                <c:pt idx="1509">
                  <c:v>0</c:v>
                </c:pt>
                <c:pt idx="1510">
                  <c:v>0</c:v>
                </c:pt>
                <c:pt idx="1511">
                  <c:v>0</c:v>
                </c:pt>
                <c:pt idx="1512">
                  <c:v>0</c:v>
                </c:pt>
                <c:pt idx="1513">
                  <c:v>0</c:v>
                </c:pt>
                <c:pt idx="1514">
                  <c:v>0</c:v>
                </c:pt>
                <c:pt idx="1515">
                  <c:v>0</c:v>
                </c:pt>
                <c:pt idx="1516">
                  <c:v>0</c:v>
                </c:pt>
                <c:pt idx="1517">
                  <c:v>0</c:v>
                </c:pt>
                <c:pt idx="1518">
                  <c:v>0</c:v>
                </c:pt>
                <c:pt idx="1519">
                  <c:v>0</c:v>
                </c:pt>
                <c:pt idx="1520">
                  <c:v>0</c:v>
                </c:pt>
                <c:pt idx="1521">
                  <c:v>0</c:v>
                </c:pt>
                <c:pt idx="1522">
                  <c:v>0</c:v>
                </c:pt>
                <c:pt idx="1523">
                  <c:v>0</c:v>
                </c:pt>
                <c:pt idx="1524">
                  <c:v>0</c:v>
                </c:pt>
                <c:pt idx="1525">
                  <c:v>0</c:v>
                </c:pt>
                <c:pt idx="1526">
                  <c:v>0</c:v>
                </c:pt>
                <c:pt idx="1527">
                  <c:v>0</c:v>
                </c:pt>
                <c:pt idx="1528">
                  <c:v>0</c:v>
                </c:pt>
                <c:pt idx="1529">
                  <c:v>0</c:v>
                </c:pt>
                <c:pt idx="1530">
                  <c:v>0</c:v>
                </c:pt>
                <c:pt idx="1531">
                  <c:v>0</c:v>
                </c:pt>
                <c:pt idx="1532">
                  <c:v>0</c:v>
                </c:pt>
                <c:pt idx="1533">
                  <c:v>0</c:v>
                </c:pt>
                <c:pt idx="1534">
                  <c:v>0</c:v>
                </c:pt>
                <c:pt idx="1535">
                  <c:v>0</c:v>
                </c:pt>
                <c:pt idx="1536">
                  <c:v>0</c:v>
                </c:pt>
                <c:pt idx="1537">
                  <c:v>0</c:v>
                </c:pt>
                <c:pt idx="1538">
                  <c:v>0</c:v>
                </c:pt>
                <c:pt idx="1539">
                  <c:v>0</c:v>
                </c:pt>
                <c:pt idx="1540">
                  <c:v>0</c:v>
                </c:pt>
                <c:pt idx="1541">
                  <c:v>0</c:v>
                </c:pt>
                <c:pt idx="1542">
                  <c:v>0</c:v>
                </c:pt>
                <c:pt idx="1543">
                  <c:v>0</c:v>
                </c:pt>
                <c:pt idx="1544">
                  <c:v>0</c:v>
                </c:pt>
                <c:pt idx="1545">
                  <c:v>0</c:v>
                </c:pt>
                <c:pt idx="1546">
                  <c:v>0</c:v>
                </c:pt>
                <c:pt idx="1547">
                  <c:v>0</c:v>
                </c:pt>
                <c:pt idx="1548">
                  <c:v>0</c:v>
                </c:pt>
                <c:pt idx="1549">
                  <c:v>0</c:v>
                </c:pt>
                <c:pt idx="1550">
                  <c:v>0</c:v>
                </c:pt>
                <c:pt idx="1551">
                  <c:v>0</c:v>
                </c:pt>
                <c:pt idx="1552">
                  <c:v>0</c:v>
                </c:pt>
                <c:pt idx="1553">
                  <c:v>0</c:v>
                </c:pt>
                <c:pt idx="1554">
                  <c:v>0</c:v>
                </c:pt>
                <c:pt idx="1555">
                  <c:v>0</c:v>
                </c:pt>
                <c:pt idx="1556">
                  <c:v>0</c:v>
                </c:pt>
                <c:pt idx="1557">
                  <c:v>0</c:v>
                </c:pt>
                <c:pt idx="1558">
                  <c:v>0</c:v>
                </c:pt>
                <c:pt idx="1559">
                  <c:v>0</c:v>
                </c:pt>
                <c:pt idx="1560">
                  <c:v>0</c:v>
                </c:pt>
                <c:pt idx="1561">
                  <c:v>0</c:v>
                </c:pt>
                <c:pt idx="1562">
                  <c:v>0</c:v>
                </c:pt>
                <c:pt idx="1563">
                  <c:v>0</c:v>
                </c:pt>
                <c:pt idx="1564">
                  <c:v>0</c:v>
                </c:pt>
                <c:pt idx="1565">
                  <c:v>0</c:v>
                </c:pt>
                <c:pt idx="1566">
                  <c:v>0</c:v>
                </c:pt>
                <c:pt idx="1567">
                  <c:v>0</c:v>
                </c:pt>
                <c:pt idx="1568">
                  <c:v>0</c:v>
                </c:pt>
                <c:pt idx="1569">
                  <c:v>0</c:v>
                </c:pt>
                <c:pt idx="1570">
                  <c:v>0</c:v>
                </c:pt>
                <c:pt idx="1571">
                  <c:v>0</c:v>
                </c:pt>
                <c:pt idx="1572">
                  <c:v>0</c:v>
                </c:pt>
                <c:pt idx="1573">
                  <c:v>0</c:v>
                </c:pt>
                <c:pt idx="1574">
                  <c:v>0</c:v>
                </c:pt>
                <c:pt idx="1575">
                  <c:v>0</c:v>
                </c:pt>
                <c:pt idx="1576">
                  <c:v>0</c:v>
                </c:pt>
                <c:pt idx="1577">
                  <c:v>0</c:v>
                </c:pt>
                <c:pt idx="1578">
                  <c:v>0</c:v>
                </c:pt>
                <c:pt idx="1579">
                  <c:v>0</c:v>
                </c:pt>
                <c:pt idx="1580">
                  <c:v>0</c:v>
                </c:pt>
                <c:pt idx="1581">
                  <c:v>0</c:v>
                </c:pt>
                <c:pt idx="1582">
                  <c:v>0</c:v>
                </c:pt>
                <c:pt idx="1583">
                  <c:v>0</c:v>
                </c:pt>
                <c:pt idx="1584">
                  <c:v>0</c:v>
                </c:pt>
                <c:pt idx="1585">
                  <c:v>0</c:v>
                </c:pt>
                <c:pt idx="1586">
                  <c:v>0</c:v>
                </c:pt>
                <c:pt idx="1587">
                  <c:v>0</c:v>
                </c:pt>
                <c:pt idx="1588">
                  <c:v>0</c:v>
                </c:pt>
                <c:pt idx="1589">
                  <c:v>0</c:v>
                </c:pt>
                <c:pt idx="1590">
                  <c:v>0</c:v>
                </c:pt>
                <c:pt idx="1591">
                  <c:v>0</c:v>
                </c:pt>
                <c:pt idx="1592">
                  <c:v>0</c:v>
                </c:pt>
                <c:pt idx="1593">
                  <c:v>0</c:v>
                </c:pt>
                <c:pt idx="1594">
                  <c:v>0</c:v>
                </c:pt>
                <c:pt idx="1595">
                  <c:v>0</c:v>
                </c:pt>
                <c:pt idx="1596">
                  <c:v>0</c:v>
                </c:pt>
                <c:pt idx="1597">
                  <c:v>0</c:v>
                </c:pt>
                <c:pt idx="1598">
                  <c:v>0</c:v>
                </c:pt>
                <c:pt idx="1599">
                  <c:v>0</c:v>
                </c:pt>
                <c:pt idx="1600">
                  <c:v>0</c:v>
                </c:pt>
                <c:pt idx="1601">
                  <c:v>0</c:v>
                </c:pt>
                <c:pt idx="1602">
                  <c:v>0</c:v>
                </c:pt>
                <c:pt idx="1603">
                  <c:v>0</c:v>
                </c:pt>
                <c:pt idx="1604">
                  <c:v>0</c:v>
                </c:pt>
                <c:pt idx="1605">
                  <c:v>0</c:v>
                </c:pt>
                <c:pt idx="1606">
                  <c:v>0</c:v>
                </c:pt>
                <c:pt idx="1607">
                  <c:v>0</c:v>
                </c:pt>
                <c:pt idx="1608">
                  <c:v>0</c:v>
                </c:pt>
                <c:pt idx="1609">
                  <c:v>0</c:v>
                </c:pt>
                <c:pt idx="1610">
                  <c:v>0</c:v>
                </c:pt>
                <c:pt idx="1611">
                  <c:v>0</c:v>
                </c:pt>
                <c:pt idx="1612">
                  <c:v>0</c:v>
                </c:pt>
                <c:pt idx="1613">
                  <c:v>0</c:v>
                </c:pt>
                <c:pt idx="1614">
                  <c:v>0</c:v>
                </c:pt>
                <c:pt idx="1615">
                  <c:v>0</c:v>
                </c:pt>
                <c:pt idx="1616">
                  <c:v>0</c:v>
                </c:pt>
                <c:pt idx="1617">
                  <c:v>0</c:v>
                </c:pt>
                <c:pt idx="1618">
                  <c:v>0</c:v>
                </c:pt>
                <c:pt idx="1619">
                  <c:v>0</c:v>
                </c:pt>
                <c:pt idx="1620">
                  <c:v>0</c:v>
                </c:pt>
                <c:pt idx="1621">
                  <c:v>0</c:v>
                </c:pt>
                <c:pt idx="1622">
                  <c:v>0</c:v>
                </c:pt>
                <c:pt idx="1623">
                  <c:v>0</c:v>
                </c:pt>
                <c:pt idx="1624">
                  <c:v>0</c:v>
                </c:pt>
                <c:pt idx="1625">
                  <c:v>0</c:v>
                </c:pt>
                <c:pt idx="1626">
                  <c:v>0</c:v>
                </c:pt>
                <c:pt idx="1627">
                  <c:v>0</c:v>
                </c:pt>
                <c:pt idx="1628">
                  <c:v>0</c:v>
                </c:pt>
                <c:pt idx="1629">
                  <c:v>0</c:v>
                </c:pt>
                <c:pt idx="1630">
                  <c:v>0</c:v>
                </c:pt>
                <c:pt idx="1631">
                  <c:v>0</c:v>
                </c:pt>
                <c:pt idx="1632">
                  <c:v>0</c:v>
                </c:pt>
                <c:pt idx="1633">
                  <c:v>0</c:v>
                </c:pt>
                <c:pt idx="1634">
                  <c:v>0</c:v>
                </c:pt>
                <c:pt idx="1635">
                  <c:v>0</c:v>
                </c:pt>
                <c:pt idx="1636">
                  <c:v>0</c:v>
                </c:pt>
                <c:pt idx="1637">
                  <c:v>0</c:v>
                </c:pt>
                <c:pt idx="1638">
                  <c:v>0</c:v>
                </c:pt>
                <c:pt idx="1639">
                  <c:v>0</c:v>
                </c:pt>
                <c:pt idx="1640">
                  <c:v>0</c:v>
                </c:pt>
                <c:pt idx="1641">
                  <c:v>0</c:v>
                </c:pt>
                <c:pt idx="1642">
                  <c:v>0</c:v>
                </c:pt>
                <c:pt idx="1643">
                  <c:v>0</c:v>
                </c:pt>
                <c:pt idx="1644">
                  <c:v>0</c:v>
                </c:pt>
                <c:pt idx="1645">
                  <c:v>0</c:v>
                </c:pt>
                <c:pt idx="1646">
                  <c:v>0</c:v>
                </c:pt>
                <c:pt idx="1647">
                  <c:v>0</c:v>
                </c:pt>
                <c:pt idx="1648">
                  <c:v>0</c:v>
                </c:pt>
                <c:pt idx="1649">
                  <c:v>0</c:v>
                </c:pt>
                <c:pt idx="1650">
                  <c:v>0</c:v>
                </c:pt>
                <c:pt idx="1651">
                  <c:v>0</c:v>
                </c:pt>
                <c:pt idx="1652">
                  <c:v>0</c:v>
                </c:pt>
                <c:pt idx="1653">
                  <c:v>0</c:v>
                </c:pt>
                <c:pt idx="1654">
                  <c:v>0</c:v>
                </c:pt>
                <c:pt idx="1655">
                  <c:v>0</c:v>
                </c:pt>
                <c:pt idx="1656">
                  <c:v>0</c:v>
                </c:pt>
                <c:pt idx="1657">
                  <c:v>0</c:v>
                </c:pt>
                <c:pt idx="1658">
                  <c:v>0</c:v>
                </c:pt>
                <c:pt idx="1659">
                  <c:v>0</c:v>
                </c:pt>
                <c:pt idx="1660">
                  <c:v>0</c:v>
                </c:pt>
                <c:pt idx="1661">
                  <c:v>0</c:v>
                </c:pt>
                <c:pt idx="1662">
                  <c:v>0</c:v>
                </c:pt>
                <c:pt idx="1663">
                  <c:v>0</c:v>
                </c:pt>
                <c:pt idx="1664">
                  <c:v>0</c:v>
                </c:pt>
                <c:pt idx="1665">
                  <c:v>0</c:v>
                </c:pt>
                <c:pt idx="1666">
                  <c:v>0</c:v>
                </c:pt>
                <c:pt idx="1667">
                  <c:v>0</c:v>
                </c:pt>
                <c:pt idx="1668">
                  <c:v>0</c:v>
                </c:pt>
                <c:pt idx="1669">
                  <c:v>0</c:v>
                </c:pt>
                <c:pt idx="1670">
                  <c:v>0</c:v>
                </c:pt>
                <c:pt idx="1671">
                  <c:v>0</c:v>
                </c:pt>
                <c:pt idx="1672">
                  <c:v>0</c:v>
                </c:pt>
                <c:pt idx="1673">
                  <c:v>0</c:v>
                </c:pt>
                <c:pt idx="1674">
                  <c:v>0</c:v>
                </c:pt>
                <c:pt idx="1675">
                  <c:v>0</c:v>
                </c:pt>
                <c:pt idx="1676">
                  <c:v>0</c:v>
                </c:pt>
                <c:pt idx="1677">
                  <c:v>0</c:v>
                </c:pt>
                <c:pt idx="1678">
                  <c:v>0</c:v>
                </c:pt>
                <c:pt idx="1679">
                  <c:v>0</c:v>
                </c:pt>
                <c:pt idx="1680">
                  <c:v>0</c:v>
                </c:pt>
                <c:pt idx="1681">
                  <c:v>0</c:v>
                </c:pt>
                <c:pt idx="1682">
                  <c:v>0</c:v>
                </c:pt>
                <c:pt idx="1683">
                  <c:v>0</c:v>
                </c:pt>
                <c:pt idx="1684">
                  <c:v>0</c:v>
                </c:pt>
                <c:pt idx="1685">
                  <c:v>0</c:v>
                </c:pt>
                <c:pt idx="1686">
                  <c:v>0</c:v>
                </c:pt>
                <c:pt idx="1687">
                  <c:v>0</c:v>
                </c:pt>
                <c:pt idx="1688">
                  <c:v>0</c:v>
                </c:pt>
                <c:pt idx="1689">
                  <c:v>0</c:v>
                </c:pt>
                <c:pt idx="1690">
                  <c:v>0</c:v>
                </c:pt>
                <c:pt idx="1691">
                  <c:v>0</c:v>
                </c:pt>
                <c:pt idx="1692">
                  <c:v>0</c:v>
                </c:pt>
                <c:pt idx="1693">
                  <c:v>0</c:v>
                </c:pt>
                <c:pt idx="1694">
                  <c:v>0</c:v>
                </c:pt>
                <c:pt idx="1695">
                  <c:v>0</c:v>
                </c:pt>
                <c:pt idx="1696">
                  <c:v>0</c:v>
                </c:pt>
                <c:pt idx="1697">
                  <c:v>0</c:v>
                </c:pt>
                <c:pt idx="1698">
                  <c:v>0</c:v>
                </c:pt>
                <c:pt idx="1699">
                  <c:v>0</c:v>
                </c:pt>
                <c:pt idx="1700">
                  <c:v>0</c:v>
                </c:pt>
                <c:pt idx="1701">
                  <c:v>0</c:v>
                </c:pt>
                <c:pt idx="1702">
                  <c:v>0</c:v>
                </c:pt>
                <c:pt idx="1703">
                  <c:v>0</c:v>
                </c:pt>
                <c:pt idx="1704">
                  <c:v>0</c:v>
                </c:pt>
                <c:pt idx="1705">
                  <c:v>0</c:v>
                </c:pt>
                <c:pt idx="1706">
                  <c:v>0</c:v>
                </c:pt>
                <c:pt idx="1707">
                  <c:v>0</c:v>
                </c:pt>
                <c:pt idx="1708">
                  <c:v>0</c:v>
                </c:pt>
                <c:pt idx="1709">
                  <c:v>0</c:v>
                </c:pt>
                <c:pt idx="1710">
                  <c:v>0</c:v>
                </c:pt>
                <c:pt idx="1711">
                  <c:v>0</c:v>
                </c:pt>
                <c:pt idx="1712">
                  <c:v>0</c:v>
                </c:pt>
                <c:pt idx="1713">
                  <c:v>0</c:v>
                </c:pt>
                <c:pt idx="1714">
                  <c:v>0</c:v>
                </c:pt>
                <c:pt idx="1715">
                  <c:v>0</c:v>
                </c:pt>
                <c:pt idx="1716">
                  <c:v>0</c:v>
                </c:pt>
                <c:pt idx="1717">
                  <c:v>0</c:v>
                </c:pt>
                <c:pt idx="1718">
                  <c:v>0</c:v>
                </c:pt>
                <c:pt idx="1719">
                  <c:v>0</c:v>
                </c:pt>
                <c:pt idx="1720">
                  <c:v>0</c:v>
                </c:pt>
                <c:pt idx="1721">
                  <c:v>0</c:v>
                </c:pt>
                <c:pt idx="1722">
                  <c:v>0</c:v>
                </c:pt>
                <c:pt idx="1723">
                  <c:v>0</c:v>
                </c:pt>
                <c:pt idx="1724">
                  <c:v>0</c:v>
                </c:pt>
                <c:pt idx="1725">
                  <c:v>0</c:v>
                </c:pt>
                <c:pt idx="1726">
                  <c:v>0</c:v>
                </c:pt>
                <c:pt idx="1727">
                  <c:v>0</c:v>
                </c:pt>
                <c:pt idx="1728">
                  <c:v>0</c:v>
                </c:pt>
                <c:pt idx="1729">
                  <c:v>0</c:v>
                </c:pt>
                <c:pt idx="1730">
                  <c:v>0</c:v>
                </c:pt>
                <c:pt idx="1731">
                  <c:v>0</c:v>
                </c:pt>
                <c:pt idx="1732">
                  <c:v>0</c:v>
                </c:pt>
                <c:pt idx="1733">
                  <c:v>0</c:v>
                </c:pt>
                <c:pt idx="1734">
                  <c:v>0</c:v>
                </c:pt>
                <c:pt idx="1735">
                  <c:v>0</c:v>
                </c:pt>
                <c:pt idx="1736">
                  <c:v>0</c:v>
                </c:pt>
                <c:pt idx="1737">
                  <c:v>0</c:v>
                </c:pt>
                <c:pt idx="1738">
                  <c:v>0</c:v>
                </c:pt>
                <c:pt idx="1739">
                  <c:v>0</c:v>
                </c:pt>
                <c:pt idx="1740">
                  <c:v>0</c:v>
                </c:pt>
                <c:pt idx="1741">
                  <c:v>0</c:v>
                </c:pt>
                <c:pt idx="1742">
                  <c:v>0</c:v>
                </c:pt>
                <c:pt idx="1743">
                  <c:v>0</c:v>
                </c:pt>
                <c:pt idx="1744">
                  <c:v>0</c:v>
                </c:pt>
                <c:pt idx="1745">
                  <c:v>0</c:v>
                </c:pt>
                <c:pt idx="1746">
                  <c:v>0</c:v>
                </c:pt>
                <c:pt idx="1747">
                  <c:v>0</c:v>
                </c:pt>
                <c:pt idx="1748">
                  <c:v>0</c:v>
                </c:pt>
                <c:pt idx="1749">
                  <c:v>0</c:v>
                </c:pt>
                <c:pt idx="1750">
                  <c:v>0</c:v>
                </c:pt>
                <c:pt idx="1751">
                  <c:v>0</c:v>
                </c:pt>
                <c:pt idx="1752">
                  <c:v>0</c:v>
                </c:pt>
                <c:pt idx="1753">
                  <c:v>0</c:v>
                </c:pt>
                <c:pt idx="1754">
                  <c:v>0</c:v>
                </c:pt>
                <c:pt idx="1755">
                  <c:v>0</c:v>
                </c:pt>
                <c:pt idx="1756">
                  <c:v>0</c:v>
                </c:pt>
                <c:pt idx="1757">
                  <c:v>0</c:v>
                </c:pt>
                <c:pt idx="1758">
                  <c:v>0</c:v>
                </c:pt>
                <c:pt idx="1759">
                  <c:v>0</c:v>
                </c:pt>
                <c:pt idx="1760">
                  <c:v>0</c:v>
                </c:pt>
                <c:pt idx="1761">
                  <c:v>0</c:v>
                </c:pt>
                <c:pt idx="1762">
                  <c:v>0</c:v>
                </c:pt>
                <c:pt idx="1763">
                  <c:v>0</c:v>
                </c:pt>
                <c:pt idx="1764">
                  <c:v>0</c:v>
                </c:pt>
                <c:pt idx="1765">
                  <c:v>0</c:v>
                </c:pt>
                <c:pt idx="1766">
                  <c:v>0</c:v>
                </c:pt>
                <c:pt idx="1767">
                  <c:v>0</c:v>
                </c:pt>
                <c:pt idx="1768">
                  <c:v>0</c:v>
                </c:pt>
                <c:pt idx="1769">
                  <c:v>0</c:v>
                </c:pt>
                <c:pt idx="1770">
                  <c:v>0</c:v>
                </c:pt>
                <c:pt idx="1771">
                  <c:v>0</c:v>
                </c:pt>
                <c:pt idx="1772">
                  <c:v>0</c:v>
                </c:pt>
                <c:pt idx="1773">
                  <c:v>0</c:v>
                </c:pt>
                <c:pt idx="1774">
                  <c:v>0</c:v>
                </c:pt>
                <c:pt idx="1775">
                  <c:v>0</c:v>
                </c:pt>
                <c:pt idx="1776">
                  <c:v>0</c:v>
                </c:pt>
                <c:pt idx="1777">
                  <c:v>0</c:v>
                </c:pt>
                <c:pt idx="1778">
                  <c:v>0</c:v>
                </c:pt>
                <c:pt idx="1779">
                  <c:v>0</c:v>
                </c:pt>
                <c:pt idx="1780">
                  <c:v>0</c:v>
                </c:pt>
                <c:pt idx="1781">
                  <c:v>0</c:v>
                </c:pt>
                <c:pt idx="1782">
                  <c:v>0</c:v>
                </c:pt>
                <c:pt idx="1783">
                  <c:v>0</c:v>
                </c:pt>
                <c:pt idx="1784">
                  <c:v>0</c:v>
                </c:pt>
                <c:pt idx="1785">
                  <c:v>0</c:v>
                </c:pt>
                <c:pt idx="1786">
                  <c:v>0</c:v>
                </c:pt>
                <c:pt idx="1787">
                  <c:v>0</c:v>
                </c:pt>
                <c:pt idx="1788">
                  <c:v>0</c:v>
                </c:pt>
                <c:pt idx="1789">
                  <c:v>0</c:v>
                </c:pt>
                <c:pt idx="1790">
                  <c:v>0</c:v>
                </c:pt>
                <c:pt idx="1791">
                  <c:v>0</c:v>
                </c:pt>
                <c:pt idx="1792">
                  <c:v>0</c:v>
                </c:pt>
                <c:pt idx="1793">
                  <c:v>0</c:v>
                </c:pt>
                <c:pt idx="1794">
                  <c:v>0</c:v>
                </c:pt>
                <c:pt idx="1795">
                  <c:v>0</c:v>
                </c:pt>
                <c:pt idx="1796">
                  <c:v>0</c:v>
                </c:pt>
                <c:pt idx="1797">
                  <c:v>0</c:v>
                </c:pt>
                <c:pt idx="1798">
                  <c:v>0</c:v>
                </c:pt>
                <c:pt idx="1799">
                  <c:v>0</c:v>
                </c:pt>
                <c:pt idx="1800">
                  <c:v>0</c:v>
                </c:pt>
                <c:pt idx="1801">
                  <c:v>0</c:v>
                </c:pt>
                <c:pt idx="1802">
                  <c:v>0</c:v>
                </c:pt>
                <c:pt idx="1803">
                  <c:v>0</c:v>
                </c:pt>
                <c:pt idx="1804">
                  <c:v>0</c:v>
                </c:pt>
                <c:pt idx="1805">
                  <c:v>0</c:v>
                </c:pt>
                <c:pt idx="1806">
                  <c:v>0</c:v>
                </c:pt>
                <c:pt idx="1807">
                  <c:v>0</c:v>
                </c:pt>
                <c:pt idx="1808">
                  <c:v>0</c:v>
                </c:pt>
                <c:pt idx="1809">
                  <c:v>0</c:v>
                </c:pt>
                <c:pt idx="1810">
                  <c:v>0</c:v>
                </c:pt>
                <c:pt idx="1811">
                  <c:v>0</c:v>
                </c:pt>
                <c:pt idx="1812">
                  <c:v>0</c:v>
                </c:pt>
                <c:pt idx="1813">
                  <c:v>0</c:v>
                </c:pt>
                <c:pt idx="1814">
                  <c:v>0</c:v>
                </c:pt>
                <c:pt idx="1815">
                  <c:v>0</c:v>
                </c:pt>
                <c:pt idx="1816">
                  <c:v>0</c:v>
                </c:pt>
                <c:pt idx="1817">
                  <c:v>0</c:v>
                </c:pt>
                <c:pt idx="1818">
                  <c:v>0</c:v>
                </c:pt>
                <c:pt idx="1819">
                  <c:v>0</c:v>
                </c:pt>
                <c:pt idx="1820">
                  <c:v>0</c:v>
                </c:pt>
                <c:pt idx="1821">
                  <c:v>0</c:v>
                </c:pt>
                <c:pt idx="1822">
                  <c:v>0</c:v>
                </c:pt>
                <c:pt idx="1823">
                  <c:v>0</c:v>
                </c:pt>
                <c:pt idx="1824">
                  <c:v>0</c:v>
                </c:pt>
                <c:pt idx="1825">
                  <c:v>0</c:v>
                </c:pt>
                <c:pt idx="1826">
                  <c:v>0</c:v>
                </c:pt>
                <c:pt idx="1827">
                  <c:v>0</c:v>
                </c:pt>
                <c:pt idx="1828">
                  <c:v>0</c:v>
                </c:pt>
                <c:pt idx="1829">
                  <c:v>0</c:v>
                </c:pt>
                <c:pt idx="1830">
                  <c:v>0</c:v>
                </c:pt>
                <c:pt idx="1831">
                  <c:v>0</c:v>
                </c:pt>
                <c:pt idx="1832">
                  <c:v>0</c:v>
                </c:pt>
                <c:pt idx="1833">
                  <c:v>0</c:v>
                </c:pt>
                <c:pt idx="1834">
                  <c:v>0</c:v>
                </c:pt>
                <c:pt idx="1835">
                  <c:v>0</c:v>
                </c:pt>
                <c:pt idx="1836">
                  <c:v>0</c:v>
                </c:pt>
                <c:pt idx="1837">
                  <c:v>0</c:v>
                </c:pt>
                <c:pt idx="1838">
                  <c:v>0</c:v>
                </c:pt>
                <c:pt idx="1839">
                  <c:v>0</c:v>
                </c:pt>
                <c:pt idx="1840">
                  <c:v>0</c:v>
                </c:pt>
                <c:pt idx="1841">
                  <c:v>0</c:v>
                </c:pt>
                <c:pt idx="1842">
                  <c:v>0</c:v>
                </c:pt>
                <c:pt idx="1843">
                  <c:v>0</c:v>
                </c:pt>
                <c:pt idx="1844">
                  <c:v>0</c:v>
                </c:pt>
                <c:pt idx="1845">
                  <c:v>0</c:v>
                </c:pt>
                <c:pt idx="1846">
                  <c:v>0</c:v>
                </c:pt>
                <c:pt idx="1847">
                  <c:v>0</c:v>
                </c:pt>
                <c:pt idx="1848">
                  <c:v>0</c:v>
                </c:pt>
                <c:pt idx="1849">
                  <c:v>0</c:v>
                </c:pt>
                <c:pt idx="1850">
                  <c:v>0</c:v>
                </c:pt>
                <c:pt idx="1851">
                  <c:v>0</c:v>
                </c:pt>
                <c:pt idx="1852">
                  <c:v>0</c:v>
                </c:pt>
                <c:pt idx="1853">
                  <c:v>0</c:v>
                </c:pt>
                <c:pt idx="1854">
                  <c:v>0</c:v>
                </c:pt>
                <c:pt idx="1855">
                  <c:v>0</c:v>
                </c:pt>
                <c:pt idx="1856">
                  <c:v>0</c:v>
                </c:pt>
                <c:pt idx="1857">
                  <c:v>0</c:v>
                </c:pt>
                <c:pt idx="1858">
                  <c:v>0</c:v>
                </c:pt>
                <c:pt idx="1859">
                  <c:v>0</c:v>
                </c:pt>
                <c:pt idx="1860">
                  <c:v>0</c:v>
                </c:pt>
                <c:pt idx="1861">
                  <c:v>0</c:v>
                </c:pt>
                <c:pt idx="1862">
                  <c:v>0</c:v>
                </c:pt>
                <c:pt idx="1863">
                  <c:v>0</c:v>
                </c:pt>
                <c:pt idx="1864">
                  <c:v>0</c:v>
                </c:pt>
                <c:pt idx="1865">
                  <c:v>0</c:v>
                </c:pt>
                <c:pt idx="1866">
                  <c:v>0</c:v>
                </c:pt>
                <c:pt idx="1867">
                  <c:v>0</c:v>
                </c:pt>
                <c:pt idx="1868">
                  <c:v>0</c:v>
                </c:pt>
                <c:pt idx="1869">
                  <c:v>0</c:v>
                </c:pt>
                <c:pt idx="1870">
                  <c:v>0</c:v>
                </c:pt>
                <c:pt idx="1871">
                  <c:v>0</c:v>
                </c:pt>
                <c:pt idx="1872">
                  <c:v>0</c:v>
                </c:pt>
                <c:pt idx="1873">
                  <c:v>0</c:v>
                </c:pt>
                <c:pt idx="1874">
                  <c:v>0</c:v>
                </c:pt>
                <c:pt idx="1875">
                  <c:v>0</c:v>
                </c:pt>
                <c:pt idx="1876">
                  <c:v>0</c:v>
                </c:pt>
                <c:pt idx="1877">
                  <c:v>0</c:v>
                </c:pt>
                <c:pt idx="1878">
                  <c:v>0</c:v>
                </c:pt>
                <c:pt idx="1879">
                  <c:v>0</c:v>
                </c:pt>
                <c:pt idx="1880">
                  <c:v>0</c:v>
                </c:pt>
                <c:pt idx="1881">
                  <c:v>0</c:v>
                </c:pt>
                <c:pt idx="1882">
                  <c:v>0</c:v>
                </c:pt>
                <c:pt idx="1883">
                  <c:v>0</c:v>
                </c:pt>
                <c:pt idx="1884">
                  <c:v>0</c:v>
                </c:pt>
                <c:pt idx="1885">
                  <c:v>0</c:v>
                </c:pt>
                <c:pt idx="1886">
                  <c:v>0</c:v>
                </c:pt>
                <c:pt idx="1887">
                  <c:v>0</c:v>
                </c:pt>
                <c:pt idx="1888">
                  <c:v>0</c:v>
                </c:pt>
                <c:pt idx="1889">
                  <c:v>0</c:v>
                </c:pt>
                <c:pt idx="1890">
                  <c:v>0</c:v>
                </c:pt>
                <c:pt idx="1891">
                  <c:v>0</c:v>
                </c:pt>
                <c:pt idx="1892">
                  <c:v>0</c:v>
                </c:pt>
                <c:pt idx="1893">
                  <c:v>0</c:v>
                </c:pt>
                <c:pt idx="1894">
                  <c:v>0</c:v>
                </c:pt>
                <c:pt idx="1895">
                  <c:v>0</c:v>
                </c:pt>
                <c:pt idx="1896">
                  <c:v>0</c:v>
                </c:pt>
                <c:pt idx="1897">
                  <c:v>0</c:v>
                </c:pt>
                <c:pt idx="1898">
                  <c:v>0</c:v>
                </c:pt>
                <c:pt idx="1899">
                  <c:v>0</c:v>
                </c:pt>
                <c:pt idx="1900">
                  <c:v>0</c:v>
                </c:pt>
                <c:pt idx="1901">
                  <c:v>0</c:v>
                </c:pt>
                <c:pt idx="1902">
                  <c:v>0</c:v>
                </c:pt>
                <c:pt idx="1903">
                  <c:v>0</c:v>
                </c:pt>
                <c:pt idx="1904">
                  <c:v>0</c:v>
                </c:pt>
                <c:pt idx="1905">
                  <c:v>0</c:v>
                </c:pt>
                <c:pt idx="1906">
                  <c:v>0</c:v>
                </c:pt>
                <c:pt idx="1907">
                  <c:v>0</c:v>
                </c:pt>
                <c:pt idx="1908">
                  <c:v>0</c:v>
                </c:pt>
                <c:pt idx="1909">
                  <c:v>0</c:v>
                </c:pt>
                <c:pt idx="1910">
                  <c:v>0</c:v>
                </c:pt>
                <c:pt idx="1911">
                  <c:v>0</c:v>
                </c:pt>
                <c:pt idx="1912">
                  <c:v>0</c:v>
                </c:pt>
                <c:pt idx="1913">
                  <c:v>0</c:v>
                </c:pt>
                <c:pt idx="1914">
                  <c:v>0</c:v>
                </c:pt>
                <c:pt idx="1915">
                  <c:v>0</c:v>
                </c:pt>
                <c:pt idx="1916">
                  <c:v>0</c:v>
                </c:pt>
                <c:pt idx="1917">
                  <c:v>0</c:v>
                </c:pt>
                <c:pt idx="1918">
                  <c:v>0</c:v>
                </c:pt>
                <c:pt idx="1919">
                  <c:v>0</c:v>
                </c:pt>
                <c:pt idx="1920">
                  <c:v>0</c:v>
                </c:pt>
                <c:pt idx="1921">
                  <c:v>0</c:v>
                </c:pt>
                <c:pt idx="1922">
                  <c:v>0</c:v>
                </c:pt>
                <c:pt idx="1923">
                  <c:v>0</c:v>
                </c:pt>
                <c:pt idx="1924">
                  <c:v>0</c:v>
                </c:pt>
                <c:pt idx="1925">
                  <c:v>0</c:v>
                </c:pt>
                <c:pt idx="1926">
                  <c:v>0</c:v>
                </c:pt>
                <c:pt idx="1927">
                  <c:v>0</c:v>
                </c:pt>
                <c:pt idx="1928">
                  <c:v>0</c:v>
                </c:pt>
                <c:pt idx="1929">
                  <c:v>0</c:v>
                </c:pt>
                <c:pt idx="1930">
                  <c:v>0</c:v>
                </c:pt>
                <c:pt idx="1931">
                  <c:v>0</c:v>
                </c:pt>
                <c:pt idx="1932">
                  <c:v>0</c:v>
                </c:pt>
                <c:pt idx="1933">
                  <c:v>0</c:v>
                </c:pt>
                <c:pt idx="1934">
                  <c:v>0</c:v>
                </c:pt>
                <c:pt idx="1935">
                  <c:v>0</c:v>
                </c:pt>
                <c:pt idx="1936">
                  <c:v>0</c:v>
                </c:pt>
                <c:pt idx="1937">
                  <c:v>0</c:v>
                </c:pt>
                <c:pt idx="1938">
                  <c:v>0</c:v>
                </c:pt>
                <c:pt idx="1939">
                  <c:v>0</c:v>
                </c:pt>
                <c:pt idx="1940">
                  <c:v>0</c:v>
                </c:pt>
                <c:pt idx="1941">
                  <c:v>0</c:v>
                </c:pt>
                <c:pt idx="1942">
                  <c:v>0</c:v>
                </c:pt>
                <c:pt idx="1943">
                  <c:v>0</c:v>
                </c:pt>
                <c:pt idx="1944">
                  <c:v>0</c:v>
                </c:pt>
                <c:pt idx="1945">
                  <c:v>0</c:v>
                </c:pt>
                <c:pt idx="1946">
                  <c:v>0</c:v>
                </c:pt>
                <c:pt idx="1947">
                  <c:v>0</c:v>
                </c:pt>
                <c:pt idx="1948">
                  <c:v>0</c:v>
                </c:pt>
                <c:pt idx="1949">
                  <c:v>0</c:v>
                </c:pt>
                <c:pt idx="1950">
                  <c:v>0</c:v>
                </c:pt>
                <c:pt idx="1951">
                  <c:v>0</c:v>
                </c:pt>
                <c:pt idx="1952">
                  <c:v>0</c:v>
                </c:pt>
                <c:pt idx="1953">
                  <c:v>0</c:v>
                </c:pt>
                <c:pt idx="1954">
                  <c:v>0</c:v>
                </c:pt>
                <c:pt idx="1955">
                  <c:v>0</c:v>
                </c:pt>
                <c:pt idx="1956">
                  <c:v>0</c:v>
                </c:pt>
                <c:pt idx="1957">
                  <c:v>0</c:v>
                </c:pt>
                <c:pt idx="1958">
                  <c:v>0</c:v>
                </c:pt>
                <c:pt idx="1959">
                  <c:v>0</c:v>
                </c:pt>
                <c:pt idx="1960">
                  <c:v>0</c:v>
                </c:pt>
                <c:pt idx="1961">
                  <c:v>0</c:v>
                </c:pt>
                <c:pt idx="1962">
                  <c:v>0</c:v>
                </c:pt>
                <c:pt idx="1963">
                  <c:v>0</c:v>
                </c:pt>
                <c:pt idx="1964">
                  <c:v>0</c:v>
                </c:pt>
                <c:pt idx="1965">
                  <c:v>0</c:v>
                </c:pt>
                <c:pt idx="1966">
                  <c:v>0</c:v>
                </c:pt>
                <c:pt idx="1967">
                  <c:v>0</c:v>
                </c:pt>
                <c:pt idx="1968">
                  <c:v>0</c:v>
                </c:pt>
                <c:pt idx="1969">
                  <c:v>0</c:v>
                </c:pt>
                <c:pt idx="1970">
                  <c:v>0</c:v>
                </c:pt>
                <c:pt idx="1971">
                  <c:v>0</c:v>
                </c:pt>
                <c:pt idx="1972">
                  <c:v>0</c:v>
                </c:pt>
                <c:pt idx="1973">
                  <c:v>0</c:v>
                </c:pt>
                <c:pt idx="1974">
                  <c:v>0</c:v>
                </c:pt>
                <c:pt idx="1975">
                  <c:v>0</c:v>
                </c:pt>
                <c:pt idx="1976">
                  <c:v>0</c:v>
                </c:pt>
                <c:pt idx="1977">
                  <c:v>0</c:v>
                </c:pt>
                <c:pt idx="1978">
                  <c:v>0</c:v>
                </c:pt>
                <c:pt idx="1979">
                  <c:v>0</c:v>
                </c:pt>
                <c:pt idx="1980">
                  <c:v>0</c:v>
                </c:pt>
                <c:pt idx="1981">
                  <c:v>0</c:v>
                </c:pt>
                <c:pt idx="1982">
                  <c:v>0</c:v>
                </c:pt>
                <c:pt idx="1983">
                  <c:v>0</c:v>
                </c:pt>
                <c:pt idx="1984">
                  <c:v>0</c:v>
                </c:pt>
                <c:pt idx="1985">
                  <c:v>0</c:v>
                </c:pt>
                <c:pt idx="1986">
                  <c:v>0</c:v>
                </c:pt>
                <c:pt idx="1987">
                  <c:v>0</c:v>
                </c:pt>
                <c:pt idx="1988">
                  <c:v>0</c:v>
                </c:pt>
                <c:pt idx="1989">
                  <c:v>0</c:v>
                </c:pt>
                <c:pt idx="1990">
                  <c:v>0</c:v>
                </c:pt>
                <c:pt idx="1991">
                  <c:v>0</c:v>
                </c:pt>
                <c:pt idx="1992">
                  <c:v>0</c:v>
                </c:pt>
                <c:pt idx="1993">
                  <c:v>0</c:v>
                </c:pt>
                <c:pt idx="1994">
                  <c:v>0</c:v>
                </c:pt>
                <c:pt idx="1995">
                  <c:v>0</c:v>
                </c:pt>
                <c:pt idx="1996">
                  <c:v>0</c:v>
                </c:pt>
                <c:pt idx="1997">
                  <c:v>0</c:v>
                </c:pt>
                <c:pt idx="1998">
                  <c:v>0</c:v>
                </c:pt>
                <c:pt idx="1999">
                  <c:v>0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0</c:v>
                </c:pt>
                <c:pt idx="2009">
                  <c:v>0</c:v>
                </c:pt>
                <c:pt idx="2010">
                  <c:v>0</c:v>
                </c:pt>
                <c:pt idx="2011">
                  <c:v>0</c:v>
                </c:pt>
                <c:pt idx="2012">
                  <c:v>0</c:v>
                </c:pt>
                <c:pt idx="2013">
                  <c:v>0</c:v>
                </c:pt>
                <c:pt idx="2014">
                  <c:v>0</c:v>
                </c:pt>
                <c:pt idx="2015">
                  <c:v>0</c:v>
                </c:pt>
                <c:pt idx="2016">
                  <c:v>0</c:v>
                </c:pt>
                <c:pt idx="2017">
                  <c:v>0</c:v>
                </c:pt>
                <c:pt idx="2018">
                  <c:v>0</c:v>
                </c:pt>
                <c:pt idx="2019">
                  <c:v>0</c:v>
                </c:pt>
                <c:pt idx="2020">
                  <c:v>0</c:v>
                </c:pt>
                <c:pt idx="2021">
                  <c:v>0</c:v>
                </c:pt>
                <c:pt idx="2022">
                  <c:v>0</c:v>
                </c:pt>
                <c:pt idx="2023">
                  <c:v>0</c:v>
                </c:pt>
                <c:pt idx="2024">
                  <c:v>0</c:v>
                </c:pt>
                <c:pt idx="2025">
                  <c:v>0</c:v>
                </c:pt>
                <c:pt idx="2026">
                  <c:v>0</c:v>
                </c:pt>
                <c:pt idx="2027">
                  <c:v>0</c:v>
                </c:pt>
                <c:pt idx="2028">
                  <c:v>0</c:v>
                </c:pt>
                <c:pt idx="2029">
                  <c:v>0</c:v>
                </c:pt>
                <c:pt idx="2030">
                  <c:v>0</c:v>
                </c:pt>
                <c:pt idx="2031">
                  <c:v>0</c:v>
                </c:pt>
                <c:pt idx="2032">
                  <c:v>0</c:v>
                </c:pt>
                <c:pt idx="2033">
                  <c:v>0</c:v>
                </c:pt>
                <c:pt idx="2034">
                  <c:v>0</c:v>
                </c:pt>
                <c:pt idx="2035">
                  <c:v>0</c:v>
                </c:pt>
                <c:pt idx="2036">
                  <c:v>0</c:v>
                </c:pt>
                <c:pt idx="2037">
                  <c:v>0</c:v>
                </c:pt>
                <c:pt idx="2038">
                  <c:v>0</c:v>
                </c:pt>
                <c:pt idx="2039">
                  <c:v>0</c:v>
                </c:pt>
                <c:pt idx="2040">
                  <c:v>0</c:v>
                </c:pt>
                <c:pt idx="2041">
                  <c:v>0</c:v>
                </c:pt>
                <c:pt idx="2042">
                  <c:v>0</c:v>
                </c:pt>
                <c:pt idx="2043">
                  <c:v>0</c:v>
                </c:pt>
                <c:pt idx="2044">
                  <c:v>0</c:v>
                </c:pt>
                <c:pt idx="2045">
                  <c:v>0</c:v>
                </c:pt>
                <c:pt idx="2046">
                  <c:v>0</c:v>
                </c:pt>
                <c:pt idx="2047">
                  <c:v>0</c:v>
                </c:pt>
                <c:pt idx="2048">
                  <c:v>0</c:v>
                </c:pt>
                <c:pt idx="2049">
                  <c:v>0</c:v>
                </c:pt>
                <c:pt idx="2050">
                  <c:v>0</c:v>
                </c:pt>
                <c:pt idx="2051">
                  <c:v>0</c:v>
                </c:pt>
                <c:pt idx="2052">
                  <c:v>0</c:v>
                </c:pt>
                <c:pt idx="2053">
                  <c:v>0</c:v>
                </c:pt>
                <c:pt idx="2054">
                  <c:v>0</c:v>
                </c:pt>
                <c:pt idx="2055">
                  <c:v>0</c:v>
                </c:pt>
                <c:pt idx="2056">
                  <c:v>0</c:v>
                </c:pt>
                <c:pt idx="2057">
                  <c:v>0</c:v>
                </c:pt>
                <c:pt idx="2058">
                  <c:v>0</c:v>
                </c:pt>
                <c:pt idx="2059">
                  <c:v>0</c:v>
                </c:pt>
                <c:pt idx="2060">
                  <c:v>0</c:v>
                </c:pt>
                <c:pt idx="2061">
                  <c:v>0</c:v>
                </c:pt>
                <c:pt idx="2062">
                  <c:v>0</c:v>
                </c:pt>
                <c:pt idx="2063">
                  <c:v>0</c:v>
                </c:pt>
                <c:pt idx="2064">
                  <c:v>0</c:v>
                </c:pt>
                <c:pt idx="2065">
                  <c:v>0</c:v>
                </c:pt>
                <c:pt idx="2066">
                  <c:v>0</c:v>
                </c:pt>
                <c:pt idx="2067">
                  <c:v>0</c:v>
                </c:pt>
                <c:pt idx="2068">
                  <c:v>0</c:v>
                </c:pt>
                <c:pt idx="2069">
                  <c:v>0</c:v>
                </c:pt>
                <c:pt idx="2070">
                  <c:v>0</c:v>
                </c:pt>
                <c:pt idx="2071">
                  <c:v>0</c:v>
                </c:pt>
                <c:pt idx="2072">
                  <c:v>0</c:v>
                </c:pt>
                <c:pt idx="2073">
                  <c:v>0</c:v>
                </c:pt>
                <c:pt idx="2074">
                  <c:v>0</c:v>
                </c:pt>
                <c:pt idx="2075">
                  <c:v>0</c:v>
                </c:pt>
                <c:pt idx="2076">
                  <c:v>0</c:v>
                </c:pt>
                <c:pt idx="2077">
                  <c:v>0</c:v>
                </c:pt>
                <c:pt idx="2078">
                  <c:v>0</c:v>
                </c:pt>
                <c:pt idx="2079">
                  <c:v>0</c:v>
                </c:pt>
                <c:pt idx="2080">
                  <c:v>0</c:v>
                </c:pt>
                <c:pt idx="2081">
                  <c:v>0</c:v>
                </c:pt>
                <c:pt idx="2082">
                  <c:v>0</c:v>
                </c:pt>
                <c:pt idx="2083">
                  <c:v>0</c:v>
                </c:pt>
                <c:pt idx="2084">
                  <c:v>0</c:v>
                </c:pt>
                <c:pt idx="2085">
                  <c:v>0</c:v>
                </c:pt>
                <c:pt idx="2086">
                  <c:v>0</c:v>
                </c:pt>
                <c:pt idx="2087">
                  <c:v>0</c:v>
                </c:pt>
                <c:pt idx="2088">
                  <c:v>0</c:v>
                </c:pt>
                <c:pt idx="2089">
                  <c:v>0</c:v>
                </c:pt>
                <c:pt idx="2090">
                  <c:v>0</c:v>
                </c:pt>
                <c:pt idx="2091">
                  <c:v>0</c:v>
                </c:pt>
                <c:pt idx="2092">
                  <c:v>0</c:v>
                </c:pt>
                <c:pt idx="2093">
                  <c:v>0</c:v>
                </c:pt>
                <c:pt idx="2094">
                  <c:v>0</c:v>
                </c:pt>
                <c:pt idx="2095">
                  <c:v>0</c:v>
                </c:pt>
                <c:pt idx="2096">
                  <c:v>0</c:v>
                </c:pt>
                <c:pt idx="2097">
                  <c:v>0</c:v>
                </c:pt>
                <c:pt idx="2098">
                  <c:v>0</c:v>
                </c:pt>
                <c:pt idx="2099">
                  <c:v>0</c:v>
                </c:pt>
                <c:pt idx="2100">
                  <c:v>0</c:v>
                </c:pt>
                <c:pt idx="2101">
                  <c:v>0</c:v>
                </c:pt>
                <c:pt idx="2102">
                  <c:v>0</c:v>
                </c:pt>
                <c:pt idx="2103">
                  <c:v>0</c:v>
                </c:pt>
                <c:pt idx="2104">
                  <c:v>0</c:v>
                </c:pt>
                <c:pt idx="2105">
                  <c:v>0</c:v>
                </c:pt>
                <c:pt idx="2106">
                  <c:v>0</c:v>
                </c:pt>
                <c:pt idx="2107">
                  <c:v>0</c:v>
                </c:pt>
                <c:pt idx="2108">
                  <c:v>0</c:v>
                </c:pt>
                <c:pt idx="2109">
                  <c:v>0</c:v>
                </c:pt>
                <c:pt idx="2110">
                  <c:v>0</c:v>
                </c:pt>
                <c:pt idx="2111">
                  <c:v>0</c:v>
                </c:pt>
                <c:pt idx="2112">
                  <c:v>0</c:v>
                </c:pt>
                <c:pt idx="2113">
                  <c:v>0</c:v>
                </c:pt>
                <c:pt idx="2114">
                  <c:v>0</c:v>
                </c:pt>
                <c:pt idx="2115">
                  <c:v>0</c:v>
                </c:pt>
                <c:pt idx="2116">
                  <c:v>0</c:v>
                </c:pt>
                <c:pt idx="2117">
                  <c:v>0</c:v>
                </c:pt>
                <c:pt idx="2118">
                  <c:v>0</c:v>
                </c:pt>
                <c:pt idx="2119">
                  <c:v>0</c:v>
                </c:pt>
                <c:pt idx="2120">
                  <c:v>0</c:v>
                </c:pt>
                <c:pt idx="2121">
                  <c:v>0</c:v>
                </c:pt>
                <c:pt idx="2122">
                  <c:v>0</c:v>
                </c:pt>
                <c:pt idx="2123">
                  <c:v>0</c:v>
                </c:pt>
                <c:pt idx="2124">
                  <c:v>0</c:v>
                </c:pt>
                <c:pt idx="2125">
                  <c:v>0</c:v>
                </c:pt>
                <c:pt idx="2126">
                  <c:v>0</c:v>
                </c:pt>
                <c:pt idx="2127">
                  <c:v>0</c:v>
                </c:pt>
                <c:pt idx="2128">
                  <c:v>0</c:v>
                </c:pt>
                <c:pt idx="2129">
                  <c:v>0</c:v>
                </c:pt>
                <c:pt idx="2130">
                  <c:v>0</c:v>
                </c:pt>
                <c:pt idx="2131">
                  <c:v>0</c:v>
                </c:pt>
                <c:pt idx="2132">
                  <c:v>0</c:v>
                </c:pt>
                <c:pt idx="2133">
                  <c:v>0</c:v>
                </c:pt>
                <c:pt idx="2134">
                  <c:v>0</c:v>
                </c:pt>
                <c:pt idx="2135">
                  <c:v>0</c:v>
                </c:pt>
                <c:pt idx="2136">
                  <c:v>0</c:v>
                </c:pt>
                <c:pt idx="2137">
                  <c:v>0</c:v>
                </c:pt>
                <c:pt idx="2138">
                  <c:v>0</c:v>
                </c:pt>
                <c:pt idx="2139">
                  <c:v>0</c:v>
                </c:pt>
                <c:pt idx="2140">
                  <c:v>0</c:v>
                </c:pt>
                <c:pt idx="2141">
                  <c:v>0</c:v>
                </c:pt>
                <c:pt idx="2142">
                  <c:v>0</c:v>
                </c:pt>
                <c:pt idx="2143">
                  <c:v>0</c:v>
                </c:pt>
                <c:pt idx="2144">
                  <c:v>0</c:v>
                </c:pt>
                <c:pt idx="2145">
                  <c:v>0</c:v>
                </c:pt>
                <c:pt idx="2146">
                  <c:v>0</c:v>
                </c:pt>
                <c:pt idx="2147">
                  <c:v>0</c:v>
                </c:pt>
                <c:pt idx="2148">
                  <c:v>0</c:v>
                </c:pt>
                <c:pt idx="2149">
                  <c:v>0</c:v>
                </c:pt>
                <c:pt idx="2150">
                  <c:v>0</c:v>
                </c:pt>
                <c:pt idx="2151">
                  <c:v>0</c:v>
                </c:pt>
                <c:pt idx="2152">
                  <c:v>0</c:v>
                </c:pt>
                <c:pt idx="2153">
                  <c:v>0</c:v>
                </c:pt>
                <c:pt idx="2154">
                  <c:v>0</c:v>
                </c:pt>
                <c:pt idx="2155">
                  <c:v>0</c:v>
                </c:pt>
                <c:pt idx="2156">
                  <c:v>0</c:v>
                </c:pt>
                <c:pt idx="2157">
                  <c:v>0</c:v>
                </c:pt>
                <c:pt idx="2158">
                  <c:v>0</c:v>
                </c:pt>
                <c:pt idx="2159">
                  <c:v>0</c:v>
                </c:pt>
                <c:pt idx="2160">
                  <c:v>0</c:v>
                </c:pt>
                <c:pt idx="2161">
                  <c:v>0</c:v>
                </c:pt>
                <c:pt idx="2162">
                  <c:v>0</c:v>
                </c:pt>
                <c:pt idx="2163">
                  <c:v>0</c:v>
                </c:pt>
                <c:pt idx="2164">
                  <c:v>0</c:v>
                </c:pt>
                <c:pt idx="2165">
                  <c:v>0</c:v>
                </c:pt>
                <c:pt idx="2166">
                  <c:v>0</c:v>
                </c:pt>
                <c:pt idx="2167">
                  <c:v>0</c:v>
                </c:pt>
                <c:pt idx="2168">
                  <c:v>0</c:v>
                </c:pt>
                <c:pt idx="2169">
                  <c:v>0</c:v>
                </c:pt>
                <c:pt idx="2170">
                  <c:v>0</c:v>
                </c:pt>
                <c:pt idx="2171">
                  <c:v>0</c:v>
                </c:pt>
                <c:pt idx="2172">
                  <c:v>0</c:v>
                </c:pt>
                <c:pt idx="2173">
                  <c:v>0</c:v>
                </c:pt>
                <c:pt idx="2174">
                  <c:v>0</c:v>
                </c:pt>
                <c:pt idx="2175">
                  <c:v>0</c:v>
                </c:pt>
                <c:pt idx="2176">
                  <c:v>0</c:v>
                </c:pt>
                <c:pt idx="2177">
                  <c:v>0</c:v>
                </c:pt>
                <c:pt idx="2178">
                  <c:v>0</c:v>
                </c:pt>
                <c:pt idx="2179">
                  <c:v>0</c:v>
                </c:pt>
                <c:pt idx="2180">
                  <c:v>0</c:v>
                </c:pt>
                <c:pt idx="2181">
                  <c:v>0</c:v>
                </c:pt>
                <c:pt idx="2182">
                  <c:v>0</c:v>
                </c:pt>
                <c:pt idx="2183">
                  <c:v>0</c:v>
                </c:pt>
                <c:pt idx="2184">
                  <c:v>0</c:v>
                </c:pt>
                <c:pt idx="2185">
                  <c:v>0</c:v>
                </c:pt>
                <c:pt idx="2186">
                  <c:v>0</c:v>
                </c:pt>
                <c:pt idx="2187">
                  <c:v>0</c:v>
                </c:pt>
                <c:pt idx="2188">
                  <c:v>0</c:v>
                </c:pt>
                <c:pt idx="2189">
                  <c:v>0</c:v>
                </c:pt>
                <c:pt idx="2190">
                  <c:v>0</c:v>
                </c:pt>
                <c:pt idx="2191">
                  <c:v>0</c:v>
                </c:pt>
                <c:pt idx="2192">
                  <c:v>0</c:v>
                </c:pt>
                <c:pt idx="2193">
                  <c:v>0</c:v>
                </c:pt>
                <c:pt idx="2194">
                  <c:v>0</c:v>
                </c:pt>
                <c:pt idx="2195">
                  <c:v>0</c:v>
                </c:pt>
                <c:pt idx="2196">
                  <c:v>0</c:v>
                </c:pt>
                <c:pt idx="2197">
                  <c:v>0</c:v>
                </c:pt>
                <c:pt idx="2198">
                  <c:v>0</c:v>
                </c:pt>
                <c:pt idx="2199">
                  <c:v>0</c:v>
                </c:pt>
                <c:pt idx="2200">
                  <c:v>0</c:v>
                </c:pt>
                <c:pt idx="2201">
                  <c:v>0</c:v>
                </c:pt>
                <c:pt idx="2202">
                  <c:v>0</c:v>
                </c:pt>
                <c:pt idx="2203">
                  <c:v>0</c:v>
                </c:pt>
                <c:pt idx="2204">
                  <c:v>0</c:v>
                </c:pt>
                <c:pt idx="2205">
                  <c:v>0</c:v>
                </c:pt>
                <c:pt idx="2206">
                  <c:v>0</c:v>
                </c:pt>
                <c:pt idx="2207">
                  <c:v>0</c:v>
                </c:pt>
                <c:pt idx="2208">
                  <c:v>0</c:v>
                </c:pt>
                <c:pt idx="2209">
                  <c:v>0</c:v>
                </c:pt>
                <c:pt idx="2210">
                  <c:v>0</c:v>
                </c:pt>
                <c:pt idx="2211">
                  <c:v>0</c:v>
                </c:pt>
                <c:pt idx="2212">
                  <c:v>0</c:v>
                </c:pt>
                <c:pt idx="2213">
                  <c:v>0</c:v>
                </c:pt>
                <c:pt idx="2214">
                  <c:v>0</c:v>
                </c:pt>
                <c:pt idx="2215">
                  <c:v>0</c:v>
                </c:pt>
                <c:pt idx="2216">
                  <c:v>0</c:v>
                </c:pt>
                <c:pt idx="2217">
                  <c:v>0</c:v>
                </c:pt>
                <c:pt idx="2218">
                  <c:v>0</c:v>
                </c:pt>
                <c:pt idx="2219">
                  <c:v>0</c:v>
                </c:pt>
                <c:pt idx="2220">
                  <c:v>0</c:v>
                </c:pt>
                <c:pt idx="2221">
                  <c:v>0</c:v>
                </c:pt>
                <c:pt idx="2222">
                  <c:v>0</c:v>
                </c:pt>
                <c:pt idx="2223">
                  <c:v>0</c:v>
                </c:pt>
                <c:pt idx="2224">
                  <c:v>0</c:v>
                </c:pt>
                <c:pt idx="2225">
                  <c:v>0</c:v>
                </c:pt>
                <c:pt idx="2226">
                  <c:v>0</c:v>
                </c:pt>
                <c:pt idx="2227">
                  <c:v>0</c:v>
                </c:pt>
                <c:pt idx="2228">
                  <c:v>0</c:v>
                </c:pt>
                <c:pt idx="2229">
                  <c:v>0</c:v>
                </c:pt>
                <c:pt idx="2230">
                  <c:v>0</c:v>
                </c:pt>
                <c:pt idx="2231">
                  <c:v>0</c:v>
                </c:pt>
                <c:pt idx="2232">
                  <c:v>0</c:v>
                </c:pt>
                <c:pt idx="2233">
                  <c:v>0</c:v>
                </c:pt>
                <c:pt idx="2234">
                  <c:v>0</c:v>
                </c:pt>
                <c:pt idx="2235">
                  <c:v>0</c:v>
                </c:pt>
                <c:pt idx="2236">
                  <c:v>0</c:v>
                </c:pt>
                <c:pt idx="2237">
                  <c:v>0</c:v>
                </c:pt>
                <c:pt idx="2238">
                  <c:v>0</c:v>
                </c:pt>
                <c:pt idx="2239">
                  <c:v>0</c:v>
                </c:pt>
                <c:pt idx="2240">
                  <c:v>0</c:v>
                </c:pt>
                <c:pt idx="2241">
                  <c:v>0</c:v>
                </c:pt>
                <c:pt idx="2242">
                  <c:v>0</c:v>
                </c:pt>
                <c:pt idx="2243">
                  <c:v>0</c:v>
                </c:pt>
                <c:pt idx="2244">
                  <c:v>0</c:v>
                </c:pt>
                <c:pt idx="2245">
                  <c:v>0</c:v>
                </c:pt>
                <c:pt idx="2246">
                  <c:v>0</c:v>
                </c:pt>
                <c:pt idx="2247">
                  <c:v>0</c:v>
                </c:pt>
                <c:pt idx="2248">
                  <c:v>0</c:v>
                </c:pt>
                <c:pt idx="2249">
                  <c:v>0</c:v>
                </c:pt>
                <c:pt idx="2250">
                  <c:v>0</c:v>
                </c:pt>
                <c:pt idx="2251">
                  <c:v>0</c:v>
                </c:pt>
                <c:pt idx="2252">
                  <c:v>0</c:v>
                </c:pt>
                <c:pt idx="2253">
                  <c:v>0</c:v>
                </c:pt>
                <c:pt idx="2254">
                  <c:v>0</c:v>
                </c:pt>
                <c:pt idx="2255">
                  <c:v>0</c:v>
                </c:pt>
                <c:pt idx="2256">
                  <c:v>0</c:v>
                </c:pt>
                <c:pt idx="2257">
                  <c:v>0</c:v>
                </c:pt>
                <c:pt idx="2258">
                  <c:v>0</c:v>
                </c:pt>
                <c:pt idx="2259">
                  <c:v>0</c:v>
                </c:pt>
                <c:pt idx="2260">
                  <c:v>0</c:v>
                </c:pt>
                <c:pt idx="2261">
                  <c:v>0</c:v>
                </c:pt>
                <c:pt idx="2262">
                  <c:v>0</c:v>
                </c:pt>
                <c:pt idx="2263">
                  <c:v>0</c:v>
                </c:pt>
                <c:pt idx="2264">
                  <c:v>0</c:v>
                </c:pt>
                <c:pt idx="2265">
                  <c:v>0</c:v>
                </c:pt>
                <c:pt idx="2266">
                  <c:v>0</c:v>
                </c:pt>
                <c:pt idx="2267">
                  <c:v>0</c:v>
                </c:pt>
                <c:pt idx="2268">
                  <c:v>0</c:v>
                </c:pt>
                <c:pt idx="2269">
                  <c:v>0</c:v>
                </c:pt>
                <c:pt idx="2270">
                  <c:v>0</c:v>
                </c:pt>
                <c:pt idx="2271">
                  <c:v>0</c:v>
                </c:pt>
                <c:pt idx="2272">
                  <c:v>0</c:v>
                </c:pt>
                <c:pt idx="2273">
                  <c:v>0</c:v>
                </c:pt>
                <c:pt idx="2274">
                  <c:v>0</c:v>
                </c:pt>
                <c:pt idx="2275">
                  <c:v>0</c:v>
                </c:pt>
                <c:pt idx="2276">
                  <c:v>0</c:v>
                </c:pt>
                <c:pt idx="2277">
                  <c:v>0</c:v>
                </c:pt>
                <c:pt idx="2278">
                  <c:v>0</c:v>
                </c:pt>
                <c:pt idx="2279">
                  <c:v>0</c:v>
                </c:pt>
                <c:pt idx="2280">
                  <c:v>0</c:v>
                </c:pt>
                <c:pt idx="2281">
                  <c:v>0</c:v>
                </c:pt>
                <c:pt idx="2282">
                  <c:v>0</c:v>
                </c:pt>
                <c:pt idx="2283">
                  <c:v>0</c:v>
                </c:pt>
                <c:pt idx="2284">
                  <c:v>0</c:v>
                </c:pt>
                <c:pt idx="2285">
                  <c:v>0</c:v>
                </c:pt>
                <c:pt idx="2286">
                  <c:v>0</c:v>
                </c:pt>
                <c:pt idx="2287">
                  <c:v>0</c:v>
                </c:pt>
                <c:pt idx="2288">
                  <c:v>0</c:v>
                </c:pt>
                <c:pt idx="2289">
                  <c:v>0</c:v>
                </c:pt>
                <c:pt idx="2290">
                  <c:v>0</c:v>
                </c:pt>
                <c:pt idx="2291">
                  <c:v>0</c:v>
                </c:pt>
                <c:pt idx="2292">
                  <c:v>0</c:v>
                </c:pt>
                <c:pt idx="2293">
                  <c:v>0</c:v>
                </c:pt>
                <c:pt idx="2294">
                  <c:v>0</c:v>
                </c:pt>
                <c:pt idx="2295">
                  <c:v>0</c:v>
                </c:pt>
                <c:pt idx="2296">
                  <c:v>0</c:v>
                </c:pt>
                <c:pt idx="2297">
                  <c:v>0</c:v>
                </c:pt>
                <c:pt idx="2298">
                  <c:v>0</c:v>
                </c:pt>
                <c:pt idx="2299">
                  <c:v>0</c:v>
                </c:pt>
                <c:pt idx="2300">
                  <c:v>0</c:v>
                </c:pt>
                <c:pt idx="2301">
                  <c:v>0</c:v>
                </c:pt>
                <c:pt idx="2302">
                  <c:v>0</c:v>
                </c:pt>
                <c:pt idx="2303">
                  <c:v>0</c:v>
                </c:pt>
                <c:pt idx="2304">
                  <c:v>0</c:v>
                </c:pt>
                <c:pt idx="2305">
                  <c:v>0</c:v>
                </c:pt>
                <c:pt idx="2306">
                  <c:v>0</c:v>
                </c:pt>
                <c:pt idx="2307">
                  <c:v>0</c:v>
                </c:pt>
                <c:pt idx="2308">
                  <c:v>0</c:v>
                </c:pt>
                <c:pt idx="2309">
                  <c:v>0</c:v>
                </c:pt>
                <c:pt idx="2310">
                  <c:v>0</c:v>
                </c:pt>
                <c:pt idx="2311">
                  <c:v>0</c:v>
                </c:pt>
                <c:pt idx="2312">
                  <c:v>0</c:v>
                </c:pt>
                <c:pt idx="2313">
                  <c:v>0</c:v>
                </c:pt>
                <c:pt idx="2314">
                  <c:v>0</c:v>
                </c:pt>
                <c:pt idx="2315">
                  <c:v>0</c:v>
                </c:pt>
                <c:pt idx="2316">
                  <c:v>0</c:v>
                </c:pt>
                <c:pt idx="2317">
                  <c:v>0</c:v>
                </c:pt>
                <c:pt idx="2318">
                  <c:v>0</c:v>
                </c:pt>
                <c:pt idx="2319">
                  <c:v>0</c:v>
                </c:pt>
                <c:pt idx="2320">
                  <c:v>0</c:v>
                </c:pt>
                <c:pt idx="2321">
                  <c:v>0</c:v>
                </c:pt>
                <c:pt idx="2322">
                  <c:v>0</c:v>
                </c:pt>
                <c:pt idx="2323">
                  <c:v>0</c:v>
                </c:pt>
                <c:pt idx="2324">
                  <c:v>0</c:v>
                </c:pt>
                <c:pt idx="2325">
                  <c:v>0</c:v>
                </c:pt>
                <c:pt idx="2326">
                  <c:v>0</c:v>
                </c:pt>
                <c:pt idx="2327">
                  <c:v>0</c:v>
                </c:pt>
                <c:pt idx="2328">
                  <c:v>0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0</c:v>
                </c:pt>
                <c:pt idx="2337">
                  <c:v>0</c:v>
                </c:pt>
                <c:pt idx="2338">
                  <c:v>0</c:v>
                </c:pt>
                <c:pt idx="2339">
                  <c:v>0</c:v>
                </c:pt>
                <c:pt idx="2340">
                  <c:v>0</c:v>
                </c:pt>
                <c:pt idx="2341">
                  <c:v>0</c:v>
                </c:pt>
                <c:pt idx="2342">
                  <c:v>0</c:v>
                </c:pt>
                <c:pt idx="2343">
                  <c:v>0</c:v>
                </c:pt>
                <c:pt idx="2344">
                  <c:v>0</c:v>
                </c:pt>
                <c:pt idx="2345">
                  <c:v>0</c:v>
                </c:pt>
                <c:pt idx="2346">
                  <c:v>0</c:v>
                </c:pt>
                <c:pt idx="2347">
                  <c:v>0</c:v>
                </c:pt>
                <c:pt idx="2348">
                  <c:v>0</c:v>
                </c:pt>
                <c:pt idx="2349">
                  <c:v>0</c:v>
                </c:pt>
                <c:pt idx="2350">
                  <c:v>0</c:v>
                </c:pt>
                <c:pt idx="2351">
                  <c:v>0</c:v>
                </c:pt>
                <c:pt idx="2352">
                  <c:v>0</c:v>
                </c:pt>
                <c:pt idx="2353">
                  <c:v>0</c:v>
                </c:pt>
                <c:pt idx="2354">
                  <c:v>0</c:v>
                </c:pt>
                <c:pt idx="2355">
                  <c:v>0</c:v>
                </c:pt>
                <c:pt idx="2356">
                  <c:v>0</c:v>
                </c:pt>
                <c:pt idx="2357">
                  <c:v>0</c:v>
                </c:pt>
                <c:pt idx="2358">
                  <c:v>0</c:v>
                </c:pt>
                <c:pt idx="2359">
                  <c:v>0</c:v>
                </c:pt>
                <c:pt idx="2360">
                  <c:v>0</c:v>
                </c:pt>
                <c:pt idx="2361">
                  <c:v>0</c:v>
                </c:pt>
                <c:pt idx="2362">
                  <c:v>0</c:v>
                </c:pt>
                <c:pt idx="2363">
                  <c:v>0</c:v>
                </c:pt>
                <c:pt idx="2364">
                  <c:v>0</c:v>
                </c:pt>
                <c:pt idx="2365">
                  <c:v>0</c:v>
                </c:pt>
                <c:pt idx="2366">
                  <c:v>0</c:v>
                </c:pt>
                <c:pt idx="2367">
                  <c:v>0</c:v>
                </c:pt>
                <c:pt idx="2368">
                  <c:v>0</c:v>
                </c:pt>
                <c:pt idx="2369">
                  <c:v>0</c:v>
                </c:pt>
                <c:pt idx="2370">
                  <c:v>0</c:v>
                </c:pt>
                <c:pt idx="2371">
                  <c:v>0</c:v>
                </c:pt>
                <c:pt idx="2372">
                  <c:v>0</c:v>
                </c:pt>
                <c:pt idx="2373">
                  <c:v>0</c:v>
                </c:pt>
                <c:pt idx="2374">
                  <c:v>0</c:v>
                </c:pt>
                <c:pt idx="2375">
                  <c:v>0</c:v>
                </c:pt>
                <c:pt idx="2376">
                  <c:v>0</c:v>
                </c:pt>
                <c:pt idx="2377">
                  <c:v>0</c:v>
                </c:pt>
                <c:pt idx="2378">
                  <c:v>0</c:v>
                </c:pt>
                <c:pt idx="2379">
                  <c:v>0</c:v>
                </c:pt>
                <c:pt idx="2380">
                  <c:v>0</c:v>
                </c:pt>
                <c:pt idx="2381">
                  <c:v>0</c:v>
                </c:pt>
                <c:pt idx="2382">
                  <c:v>0</c:v>
                </c:pt>
                <c:pt idx="2383">
                  <c:v>0</c:v>
                </c:pt>
                <c:pt idx="2384">
                  <c:v>0</c:v>
                </c:pt>
                <c:pt idx="2385">
                  <c:v>0</c:v>
                </c:pt>
                <c:pt idx="2386">
                  <c:v>0</c:v>
                </c:pt>
                <c:pt idx="2387">
                  <c:v>0</c:v>
                </c:pt>
                <c:pt idx="2388">
                  <c:v>0</c:v>
                </c:pt>
                <c:pt idx="2389">
                  <c:v>0</c:v>
                </c:pt>
                <c:pt idx="2390">
                  <c:v>0</c:v>
                </c:pt>
                <c:pt idx="2391">
                  <c:v>0</c:v>
                </c:pt>
                <c:pt idx="2392">
                  <c:v>0</c:v>
                </c:pt>
                <c:pt idx="2393">
                  <c:v>0</c:v>
                </c:pt>
                <c:pt idx="2394">
                  <c:v>0</c:v>
                </c:pt>
                <c:pt idx="2395">
                  <c:v>0</c:v>
                </c:pt>
                <c:pt idx="2396">
                  <c:v>0</c:v>
                </c:pt>
                <c:pt idx="2397">
                  <c:v>0</c:v>
                </c:pt>
                <c:pt idx="2398">
                  <c:v>0</c:v>
                </c:pt>
                <c:pt idx="2399">
                  <c:v>0</c:v>
                </c:pt>
                <c:pt idx="2400">
                  <c:v>0</c:v>
                </c:pt>
                <c:pt idx="2401">
                  <c:v>0</c:v>
                </c:pt>
                <c:pt idx="2402">
                  <c:v>0</c:v>
                </c:pt>
                <c:pt idx="2403">
                  <c:v>0</c:v>
                </c:pt>
                <c:pt idx="2404">
                  <c:v>0</c:v>
                </c:pt>
                <c:pt idx="2405">
                  <c:v>0</c:v>
                </c:pt>
                <c:pt idx="2406">
                  <c:v>0</c:v>
                </c:pt>
                <c:pt idx="2407">
                  <c:v>0</c:v>
                </c:pt>
                <c:pt idx="2408">
                  <c:v>0</c:v>
                </c:pt>
                <c:pt idx="2409">
                  <c:v>0</c:v>
                </c:pt>
                <c:pt idx="2410">
                  <c:v>0</c:v>
                </c:pt>
                <c:pt idx="2411">
                  <c:v>0</c:v>
                </c:pt>
                <c:pt idx="2412">
                  <c:v>0</c:v>
                </c:pt>
                <c:pt idx="2413">
                  <c:v>0</c:v>
                </c:pt>
                <c:pt idx="2414">
                  <c:v>0</c:v>
                </c:pt>
                <c:pt idx="2415">
                  <c:v>0</c:v>
                </c:pt>
                <c:pt idx="2416">
                  <c:v>0</c:v>
                </c:pt>
                <c:pt idx="2417">
                  <c:v>0</c:v>
                </c:pt>
                <c:pt idx="2418">
                  <c:v>0</c:v>
                </c:pt>
                <c:pt idx="2419">
                  <c:v>0</c:v>
                </c:pt>
                <c:pt idx="2420">
                  <c:v>0</c:v>
                </c:pt>
                <c:pt idx="2421">
                  <c:v>0</c:v>
                </c:pt>
                <c:pt idx="2422">
                  <c:v>0</c:v>
                </c:pt>
                <c:pt idx="2423">
                  <c:v>0</c:v>
                </c:pt>
                <c:pt idx="2424">
                  <c:v>0</c:v>
                </c:pt>
                <c:pt idx="2425">
                  <c:v>0</c:v>
                </c:pt>
                <c:pt idx="2426">
                  <c:v>0</c:v>
                </c:pt>
                <c:pt idx="2427">
                  <c:v>0</c:v>
                </c:pt>
                <c:pt idx="2428">
                  <c:v>0</c:v>
                </c:pt>
                <c:pt idx="2429">
                  <c:v>0</c:v>
                </c:pt>
                <c:pt idx="2430">
                  <c:v>0</c:v>
                </c:pt>
                <c:pt idx="2431">
                  <c:v>0</c:v>
                </c:pt>
                <c:pt idx="2432">
                  <c:v>0</c:v>
                </c:pt>
                <c:pt idx="2433">
                  <c:v>0</c:v>
                </c:pt>
                <c:pt idx="2434">
                  <c:v>0</c:v>
                </c:pt>
                <c:pt idx="2435">
                  <c:v>0</c:v>
                </c:pt>
                <c:pt idx="2436">
                  <c:v>0</c:v>
                </c:pt>
                <c:pt idx="2437">
                  <c:v>0</c:v>
                </c:pt>
                <c:pt idx="2438">
                  <c:v>0</c:v>
                </c:pt>
                <c:pt idx="2439">
                  <c:v>0</c:v>
                </c:pt>
                <c:pt idx="2440">
                  <c:v>0</c:v>
                </c:pt>
                <c:pt idx="2441">
                  <c:v>0</c:v>
                </c:pt>
                <c:pt idx="2442">
                  <c:v>0</c:v>
                </c:pt>
                <c:pt idx="2443">
                  <c:v>0</c:v>
                </c:pt>
                <c:pt idx="2444">
                  <c:v>0</c:v>
                </c:pt>
                <c:pt idx="2445">
                  <c:v>0</c:v>
                </c:pt>
                <c:pt idx="2446">
                  <c:v>0</c:v>
                </c:pt>
                <c:pt idx="2447">
                  <c:v>0</c:v>
                </c:pt>
                <c:pt idx="2448">
                  <c:v>0</c:v>
                </c:pt>
                <c:pt idx="2449">
                  <c:v>0</c:v>
                </c:pt>
                <c:pt idx="2450">
                  <c:v>0</c:v>
                </c:pt>
                <c:pt idx="2451">
                  <c:v>0</c:v>
                </c:pt>
                <c:pt idx="2452">
                  <c:v>0</c:v>
                </c:pt>
                <c:pt idx="2453">
                  <c:v>0</c:v>
                </c:pt>
                <c:pt idx="2454">
                  <c:v>0</c:v>
                </c:pt>
                <c:pt idx="2455">
                  <c:v>0</c:v>
                </c:pt>
                <c:pt idx="2456">
                  <c:v>0</c:v>
                </c:pt>
                <c:pt idx="2457">
                  <c:v>0</c:v>
                </c:pt>
                <c:pt idx="2458">
                  <c:v>0</c:v>
                </c:pt>
                <c:pt idx="2459">
                  <c:v>0</c:v>
                </c:pt>
                <c:pt idx="2460">
                  <c:v>0</c:v>
                </c:pt>
                <c:pt idx="2461">
                  <c:v>0</c:v>
                </c:pt>
                <c:pt idx="2462">
                  <c:v>0</c:v>
                </c:pt>
                <c:pt idx="2463">
                  <c:v>0</c:v>
                </c:pt>
                <c:pt idx="2464">
                  <c:v>0</c:v>
                </c:pt>
                <c:pt idx="2465">
                  <c:v>0</c:v>
                </c:pt>
                <c:pt idx="2466">
                  <c:v>0</c:v>
                </c:pt>
                <c:pt idx="2467">
                  <c:v>0</c:v>
                </c:pt>
                <c:pt idx="2468">
                  <c:v>0</c:v>
                </c:pt>
                <c:pt idx="2469">
                  <c:v>0</c:v>
                </c:pt>
                <c:pt idx="2470">
                  <c:v>0</c:v>
                </c:pt>
                <c:pt idx="2471">
                  <c:v>0</c:v>
                </c:pt>
                <c:pt idx="2472">
                  <c:v>0</c:v>
                </c:pt>
                <c:pt idx="2473">
                  <c:v>0</c:v>
                </c:pt>
                <c:pt idx="2474">
                  <c:v>0</c:v>
                </c:pt>
                <c:pt idx="2475">
                  <c:v>0</c:v>
                </c:pt>
                <c:pt idx="2476">
                  <c:v>0</c:v>
                </c:pt>
                <c:pt idx="2477">
                  <c:v>0</c:v>
                </c:pt>
                <c:pt idx="2478">
                  <c:v>0</c:v>
                </c:pt>
                <c:pt idx="2479">
                  <c:v>0</c:v>
                </c:pt>
                <c:pt idx="2480">
                  <c:v>0</c:v>
                </c:pt>
                <c:pt idx="2481">
                  <c:v>0</c:v>
                </c:pt>
                <c:pt idx="2482">
                  <c:v>0</c:v>
                </c:pt>
                <c:pt idx="2483">
                  <c:v>0</c:v>
                </c:pt>
                <c:pt idx="2484">
                  <c:v>0</c:v>
                </c:pt>
                <c:pt idx="2485">
                  <c:v>0</c:v>
                </c:pt>
                <c:pt idx="2486">
                  <c:v>0</c:v>
                </c:pt>
                <c:pt idx="2487">
                  <c:v>0</c:v>
                </c:pt>
                <c:pt idx="2488">
                  <c:v>0</c:v>
                </c:pt>
                <c:pt idx="2489">
                  <c:v>0</c:v>
                </c:pt>
                <c:pt idx="2490">
                  <c:v>0</c:v>
                </c:pt>
                <c:pt idx="2491">
                  <c:v>0</c:v>
                </c:pt>
                <c:pt idx="2492">
                  <c:v>0</c:v>
                </c:pt>
                <c:pt idx="2493">
                  <c:v>0</c:v>
                </c:pt>
                <c:pt idx="2494">
                  <c:v>0</c:v>
                </c:pt>
                <c:pt idx="2495">
                  <c:v>0</c:v>
                </c:pt>
                <c:pt idx="2496">
                  <c:v>0</c:v>
                </c:pt>
                <c:pt idx="2497">
                  <c:v>0</c:v>
                </c:pt>
                <c:pt idx="2498">
                  <c:v>0</c:v>
                </c:pt>
                <c:pt idx="2499">
                  <c:v>0</c:v>
                </c:pt>
                <c:pt idx="2500">
                  <c:v>0</c:v>
                </c:pt>
                <c:pt idx="2501">
                  <c:v>0</c:v>
                </c:pt>
                <c:pt idx="2502">
                  <c:v>0</c:v>
                </c:pt>
                <c:pt idx="2503">
                  <c:v>0</c:v>
                </c:pt>
                <c:pt idx="2504">
                  <c:v>0</c:v>
                </c:pt>
                <c:pt idx="2505">
                  <c:v>0</c:v>
                </c:pt>
                <c:pt idx="2506">
                  <c:v>0</c:v>
                </c:pt>
                <c:pt idx="2507">
                  <c:v>0</c:v>
                </c:pt>
                <c:pt idx="2508">
                  <c:v>0</c:v>
                </c:pt>
                <c:pt idx="2509">
                  <c:v>0</c:v>
                </c:pt>
                <c:pt idx="2510">
                  <c:v>0</c:v>
                </c:pt>
                <c:pt idx="2511">
                  <c:v>0</c:v>
                </c:pt>
                <c:pt idx="2512">
                  <c:v>0</c:v>
                </c:pt>
                <c:pt idx="2513">
                  <c:v>0</c:v>
                </c:pt>
                <c:pt idx="2514">
                  <c:v>0</c:v>
                </c:pt>
                <c:pt idx="2515">
                  <c:v>0</c:v>
                </c:pt>
                <c:pt idx="2516">
                  <c:v>0</c:v>
                </c:pt>
                <c:pt idx="2517">
                  <c:v>0</c:v>
                </c:pt>
                <c:pt idx="2518">
                  <c:v>0</c:v>
                </c:pt>
                <c:pt idx="2519">
                  <c:v>0</c:v>
                </c:pt>
                <c:pt idx="2520">
                  <c:v>0</c:v>
                </c:pt>
                <c:pt idx="2521">
                  <c:v>0</c:v>
                </c:pt>
                <c:pt idx="2522">
                  <c:v>0</c:v>
                </c:pt>
                <c:pt idx="2523">
                  <c:v>0</c:v>
                </c:pt>
                <c:pt idx="2524">
                  <c:v>0</c:v>
                </c:pt>
                <c:pt idx="2525">
                  <c:v>0</c:v>
                </c:pt>
                <c:pt idx="2526">
                  <c:v>0</c:v>
                </c:pt>
                <c:pt idx="2527">
                  <c:v>0</c:v>
                </c:pt>
                <c:pt idx="2528">
                  <c:v>0</c:v>
                </c:pt>
                <c:pt idx="2529">
                  <c:v>0</c:v>
                </c:pt>
                <c:pt idx="2530">
                  <c:v>0</c:v>
                </c:pt>
                <c:pt idx="2531">
                  <c:v>0</c:v>
                </c:pt>
                <c:pt idx="2532">
                  <c:v>0</c:v>
                </c:pt>
                <c:pt idx="2533">
                  <c:v>0</c:v>
                </c:pt>
                <c:pt idx="2534">
                  <c:v>0</c:v>
                </c:pt>
                <c:pt idx="2535">
                  <c:v>0</c:v>
                </c:pt>
                <c:pt idx="2536">
                  <c:v>0</c:v>
                </c:pt>
                <c:pt idx="2537">
                  <c:v>0</c:v>
                </c:pt>
                <c:pt idx="2538">
                  <c:v>0</c:v>
                </c:pt>
                <c:pt idx="2539">
                  <c:v>0</c:v>
                </c:pt>
                <c:pt idx="2540">
                  <c:v>0</c:v>
                </c:pt>
                <c:pt idx="2541">
                  <c:v>0</c:v>
                </c:pt>
                <c:pt idx="2542">
                  <c:v>0</c:v>
                </c:pt>
                <c:pt idx="2543">
                  <c:v>0</c:v>
                </c:pt>
                <c:pt idx="2544">
                  <c:v>0</c:v>
                </c:pt>
                <c:pt idx="2545">
                  <c:v>0</c:v>
                </c:pt>
                <c:pt idx="2546">
                  <c:v>0</c:v>
                </c:pt>
                <c:pt idx="2547">
                  <c:v>0</c:v>
                </c:pt>
                <c:pt idx="2548">
                  <c:v>0</c:v>
                </c:pt>
                <c:pt idx="2549">
                  <c:v>0</c:v>
                </c:pt>
                <c:pt idx="2550">
                  <c:v>0</c:v>
                </c:pt>
                <c:pt idx="2551">
                  <c:v>0</c:v>
                </c:pt>
                <c:pt idx="2552">
                  <c:v>0</c:v>
                </c:pt>
                <c:pt idx="2553">
                  <c:v>0</c:v>
                </c:pt>
                <c:pt idx="2554">
                  <c:v>0</c:v>
                </c:pt>
                <c:pt idx="2555">
                  <c:v>0</c:v>
                </c:pt>
                <c:pt idx="2556">
                  <c:v>0</c:v>
                </c:pt>
                <c:pt idx="2557">
                  <c:v>0</c:v>
                </c:pt>
                <c:pt idx="2558">
                  <c:v>0</c:v>
                </c:pt>
                <c:pt idx="2559">
                  <c:v>0</c:v>
                </c:pt>
                <c:pt idx="2560">
                  <c:v>0</c:v>
                </c:pt>
                <c:pt idx="2561">
                  <c:v>0</c:v>
                </c:pt>
                <c:pt idx="2562">
                  <c:v>0</c:v>
                </c:pt>
                <c:pt idx="2563">
                  <c:v>0</c:v>
                </c:pt>
                <c:pt idx="2564">
                  <c:v>0</c:v>
                </c:pt>
                <c:pt idx="2565">
                  <c:v>0</c:v>
                </c:pt>
                <c:pt idx="2566">
                  <c:v>0</c:v>
                </c:pt>
                <c:pt idx="2567">
                  <c:v>0</c:v>
                </c:pt>
                <c:pt idx="2568">
                  <c:v>0</c:v>
                </c:pt>
                <c:pt idx="2569">
                  <c:v>0</c:v>
                </c:pt>
                <c:pt idx="2570">
                  <c:v>0</c:v>
                </c:pt>
                <c:pt idx="2571">
                  <c:v>0</c:v>
                </c:pt>
                <c:pt idx="2572">
                  <c:v>0</c:v>
                </c:pt>
                <c:pt idx="2573">
                  <c:v>0</c:v>
                </c:pt>
                <c:pt idx="2574">
                  <c:v>0</c:v>
                </c:pt>
                <c:pt idx="2575">
                  <c:v>0</c:v>
                </c:pt>
                <c:pt idx="2576">
                  <c:v>0</c:v>
                </c:pt>
                <c:pt idx="2577">
                  <c:v>0</c:v>
                </c:pt>
                <c:pt idx="2578">
                  <c:v>0</c:v>
                </c:pt>
                <c:pt idx="2579">
                  <c:v>0</c:v>
                </c:pt>
                <c:pt idx="2580">
                  <c:v>0</c:v>
                </c:pt>
                <c:pt idx="2581">
                  <c:v>0</c:v>
                </c:pt>
                <c:pt idx="2582">
                  <c:v>0</c:v>
                </c:pt>
                <c:pt idx="2583">
                  <c:v>0</c:v>
                </c:pt>
                <c:pt idx="2584">
                  <c:v>0</c:v>
                </c:pt>
                <c:pt idx="2585">
                  <c:v>0</c:v>
                </c:pt>
                <c:pt idx="2586">
                  <c:v>0</c:v>
                </c:pt>
                <c:pt idx="2587">
                  <c:v>0</c:v>
                </c:pt>
                <c:pt idx="2588">
                  <c:v>0</c:v>
                </c:pt>
                <c:pt idx="2589">
                  <c:v>0</c:v>
                </c:pt>
                <c:pt idx="2590">
                  <c:v>0</c:v>
                </c:pt>
                <c:pt idx="2591">
                  <c:v>0</c:v>
                </c:pt>
                <c:pt idx="2592">
                  <c:v>0</c:v>
                </c:pt>
                <c:pt idx="2593">
                  <c:v>0</c:v>
                </c:pt>
                <c:pt idx="2594">
                  <c:v>0</c:v>
                </c:pt>
                <c:pt idx="2595">
                  <c:v>0</c:v>
                </c:pt>
                <c:pt idx="2596">
                  <c:v>0</c:v>
                </c:pt>
                <c:pt idx="2597">
                  <c:v>0</c:v>
                </c:pt>
                <c:pt idx="2598">
                  <c:v>0</c:v>
                </c:pt>
                <c:pt idx="2599">
                  <c:v>0</c:v>
                </c:pt>
                <c:pt idx="2600">
                  <c:v>0</c:v>
                </c:pt>
                <c:pt idx="2601">
                  <c:v>0</c:v>
                </c:pt>
                <c:pt idx="2602">
                  <c:v>0</c:v>
                </c:pt>
                <c:pt idx="2603">
                  <c:v>0</c:v>
                </c:pt>
                <c:pt idx="2604">
                  <c:v>0</c:v>
                </c:pt>
                <c:pt idx="2605">
                  <c:v>0</c:v>
                </c:pt>
                <c:pt idx="2606">
                  <c:v>0</c:v>
                </c:pt>
                <c:pt idx="2607">
                  <c:v>0</c:v>
                </c:pt>
                <c:pt idx="2608">
                  <c:v>0</c:v>
                </c:pt>
                <c:pt idx="2609">
                  <c:v>0</c:v>
                </c:pt>
                <c:pt idx="2610">
                  <c:v>0</c:v>
                </c:pt>
                <c:pt idx="2611">
                  <c:v>0</c:v>
                </c:pt>
                <c:pt idx="2612">
                  <c:v>0</c:v>
                </c:pt>
                <c:pt idx="2613">
                  <c:v>0</c:v>
                </c:pt>
                <c:pt idx="2614">
                  <c:v>0</c:v>
                </c:pt>
                <c:pt idx="2615">
                  <c:v>0</c:v>
                </c:pt>
                <c:pt idx="2616">
                  <c:v>0</c:v>
                </c:pt>
                <c:pt idx="2617">
                  <c:v>0</c:v>
                </c:pt>
                <c:pt idx="2618">
                  <c:v>0</c:v>
                </c:pt>
                <c:pt idx="2619">
                  <c:v>0</c:v>
                </c:pt>
                <c:pt idx="2620">
                  <c:v>0</c:v>
                </c:pt>
                <c:pt idx="2621">
                  <c:v>0</c:v>
                </c:pt>
                <c:pt idx="2622">
                  <c:v>0</c:v>
                </c:pt>
                <c:pt idx="2623">
                  <c:v>0</c:v>
                </c:pt>
                <c:pt idx="2624">
                  <c:v>0</c:v>
                </c:pt>
                <c:pt idx="2625">
                  <c:v>0</c:v>
                </c:pt>
                <c:pt idx="2626">
                  <c:v>0</c:v>
                </c:pt>
                <c:pt idx="2627">
                  <c:v>0</c:v>
                </c:pt>
                <c:pt idx="2628">
                  <c:v>0</c:v>
                </c:pt>
                <c:pt idx="2629">
                  <c:v>0</c:v>
                </c:pt>
                <c:pt idx="2630">
                  <c:v>0</c:v>
                </c:pt>
                <c:pt idx="2631">
                  <c:v>0</c:v>
                </c:pt>
                <c:pt idx="2632">
                  <c:v>0</c:v>
                </c:pt>
                <c:pt idx="2633">
                  <c:v>0</c:v>
                </c:pt>
                <c:pt idx="2634">
                  <c:v>0</c:v>
                </c:pt>
                <c:pt idx="2635">
                  <c:v>0</c:v>
                </c:pt>
                <c:pt idx="2636">
                  <c:v>0</c:v>
                </c:pt>
                <c:pt idx="2637">
                  <c:v>0</c:v>
                </c:pt>
                <c:pt idx="2638">
                  <c:v>0</c:v>
                </c:pt>
                <c:pt idx="2639">
                  <c:v>0</c:v>
                </c:pt>
                <c:pt idx="2640">
                  <c:v>0</c:v>
                </c:pt>
                <c:pt idx="2641">
                  <c:v>0</c:v>
                </c:pt>
                <c:pt idx="2642">
                  <c:v>0</c:v>
                </c:pt>
                <c:pt idx="2643">
                  <c:v>0</c:v>
                </c:pt>
                <c:pt idx="2644">
                  <c:v>0</c:v>
                </c:pt>
                <c:pt idx="2645">
                  <c:v>0</c:v>
                </c:pt>
                <c:pt idx="2646">
                  <c:v>0</c:v>
                </c:pt>
                <c:pt idx="2647">
                  <c:v>0</c:v>
                </c:pt>
                <c:pt idx="2648">
                  <c:v>0</c:v>
                </c:pt>
                <c:pt idx="2649">
                  <c:v>0</c:v>
                </c:pt>
                <c:pt idx="2650">
                  <c:v>0</c:v>
                </c:pt>
                <c:pt idx="2651">
                  <c:v>0</c:v>
                </c:pt>
                <c:pt idx="2652">
                  <c:v>0</c:v>
                </c:pt>
                <c:pt idx="2653">
                  <c:v>0</c:v>
                </c:pt>
                <c:pt idx="2654">
                  <c:v>0</c:v>
                </c:pt>
                <c:pt idx="2655">
                  <c:v>0</c:v>
                </c:pt>
                <c:pt idx="2656">
                  <c:v>0</c:v>
                </c:pt>
                <c:pt idx="2657">
                  <c:v>0</c:v>
                </c:pt>
                <c:pt idx="2658">
                  <c:v>0</c:v>
                </c:pt>
                <c:pt idx="2659">
                  <c:v>0</c:v>
                </c:pt>
                <c:pt idx="2660">
                  <c:v>0</c:v>
                </c:pt>
                <c:pt idx="2661">
                  <c:v>0</c:v>
                </c:pt>
                <c:pt idx="2662">
                  <c:v>0</c:v>
                </c:pt>
                <c:pt idx="2663">
                  <c:v>0</c:v>
                </c:pt>
                <c:pt idx="2664">
                  <c:v>0</c:v>
                </c:pt>
                <c:pt idx="2665">
                  <c:v>0</c:v>
                </c:pt>
                <c:pt idx="2666">
                  <c:v>0</c:v>
                </c:pt>
                <c:pt idx="2667">
                  <c:v>0</c:v>
                </c:pt>
                <c:pt idx="2668">
                  <c:v>0</c:v>
                </c:pt>
                <c:pt idx="2669">
                  <c:v>0</c:v>
                </c:pt>
                <c:pt idx="2670">
                  <c:v>0</c:v>
                </c:pt>
                <c:pt idx="2671">
                  <c:v>0</c:v>
                </c:pt>
                <c:pt idx="2672">
                  <c:v>0</c:v>
                </c:pt>
                <c:pt idx="2673">
                  <c:v>0</c:v>
                </c:pt>
                <c:pt idx="2674">
                  <c:v>0</c:v>
                </c:pt>
                <c:pt idx="2675">
                  <c:v>0</c:v>
                </c:pt>
                <c:pt idx="2676">
                  <c:v>0</c:v>
                </c:pt>
                <c:pt idx="2677">
                  <c:v>0</c:v>
                </c:pt>
                <c:pt idx="2678">
                  <c:v>0</c:v>
                </c:pt>
                <c:pt idx="2679">
                  <c:v>0</c:v>
                </c:pt>
                <c:pt idx="2680">
                  <c:v>0</c:v>
                </c:pt>
                <c:pt idx="2681">
                  <c:v>0</c:v>
                </c:pt>
                <c:pt idx="2682">
                  <c:v>0</c:v>
                </c:pt>
                <c:pt idx="2683">
                  <c:v>0</c:v>
                </c:pt>
                <c:pt idx="2684">
                  <c:v>0</c:v>
                </c:pt>
                <c:pt idx="2685">
                  <c:v>0</c:v>
                </c:pt>
                <c:pt idx="2686">
                  <c:v>0</c:v>
                </c:pt>
                <c:pt idx="2687">
                  <c:v>0</c:v>
                </c:pt>
                <c:pt idx="2688">
                  <c:v>0</c:v>
                </c:pt>
                <c:pt idx="2689">
                  <c:v>0</c:v>
                </c:pt>
                <c:pt idx="2690">
                  <c:v>0</c:v>
                </c:pt>
                <c:pt idx="2691">
                  <c:v>0</c:v>
                </c:pt>
                <c:pt idx="2692">
                  <c:v>0</c:v>
                </c:pt>
                <c:pt idx="2693">
                  <c:v>0</c:v>
                </c:pt>
                <c:pt idx="2694">
                  <c:v>0</c:v>
                </c:pt>
                <c:pt idx="2695">
                  <c:v>0</c:v>
                </c:pt>
                <c:pt idx="2696">
                  <c:v>0</c:v>
                </c:pt>
                <c:pt idx="2697">
                  <c:v>0</c:v>
                </c:pt>
                <c:pt idx="2698">
                  <c:v>0</c:v>
                </c:pt>
                <c:pt idx="2699">
                  <c:v>0</c:v>
                </c:pt>
                <c:pt idx="2700">
                  <c:v>0</c:v>
                </c:pt>
                <c:pt idx="2701">
                  <c:v>0</c:v>
                </c:pt>
                <c:pt idx="2702">
                  <c:v>0</c:v>
                </c:pt>
                <c:pt idx="2703">
                  <c:v>0</c:v>
                </c:pt>
                <c:pt idx="2704">
                  <c:v>0</c:v>
                </c:pt>
                <c:pt idx="2705">
                  <c:v>0</c:v>
                </c:pt>
                <c:pt idx="2706">
                  <c:v>0</c:v>
                </c:pt>
                <c:pt idx="2707">
                  <c:v>0</c:v>
                </c:pt>
                <c:pt idx="2708">
                  <c:v>0</c:v>
                </c:pt>
                <c:pt idx="2709">
                  <c:v>0</c:v>
                </c:pt>
                <c:pt idx="2710">
                  <c:v>0</c:v>
                </c:pt>
                <c:pt idx="2711">
                  <c:v>0</c:v>
                </c:pt>
                <c:pt idx="2712">
                  <c:v>0</c:v>
                </c:pt>
                <c:pt idx="2713">
                  <c:v>0</c:v>
                </c:pt>
                <c:pt idx="2714">
                  <c:v>0</c:v>
                </c:pt>
                <c:pt idx="2715">
                  <c:v>0</c:v>
                </c:pt>
                <c:pt idx="2716">
                  <c:v>0</c:v>
                </c:pt>
                <c:pt idx="2717">
                  <c:v>0</c:v>
                </c:pt>
                <c:pt idx="2718">
                  <c:v>0</c:v>
                </c:pt>
                <c:pt idx="2719">
                  <c:v>0</c:v>
                </c:pt>
                <c:pt idx="2720">
                  <c:v>0</c:v>
                </c:pt>
                <c:pt idx="2721">
                  <c:v>0</c:v>
                </c:pt>
                <c:pt idx="2722">
                  <c:v>0</c:v>
                </c:pt>
                <c:pt idx="2723">
                  <c:v>0</c:v>
                </c:pt>
                <c:pt idx="2724">
                  <c:v>0</c:v>
                </c:pt>
                <c:pt idx="2725">
                  <c:v>0</c:v>
                </c:pt>
                <c:pt idx="2726">
                  <c:v>0</c:v>
                </c:pt>
                <c:pt idx="2727">
                  <c:v>0</c:v>
                </c:pt>
                <c:pt idx="2728">
                  <c:v>0</c:v>
                </c:pt>
                <c:pt idx="2729">
                  <c:v>0</c:v>
                </c:pt>
                <c:pt idx="2730">
                  <c:v>0</c:v>
                </c:pt>
                <c:pt idx="2731">
                  <c:v>0</c:v>
                </c:pt>
                <c:pt idx="2732">
                  <c:v>0</c:v>
                </c:pt>
                <c:pt idx="2733">
                  <c:v>0</c:v>
                </c:pt>
                <c:pt idx="2734">
                  <c:v>0</c:v>
                </c:pt>
                <c:pt idx="2735">
                  <c:v>0</c:v>
                </c:pt>
                <c:pt idx="2736">
                  <c:v>0</c:v>
                </c:pt>
                <c:pt idx="2737">
                  <c:v>0</c:v>
                </c:pt>
                <c:pt idx="2738">
                  <c:v>0</c:v>
                </c:pt>
                <c:pt idx="2739">
                  <c:v>0</c:v>
                </c:pt>
                <c:pt idx="2740">
                  <c:v>0</c:v>
                </c:pt>
                <c:pt idx="2741">
                  <c:v>0</c:v>
                </c:pt>
                <c:pt idx="2742">
                  <c:v>0</c:v>
                </c:pt>
                <c:pt idx="2743">
                  <c:v>0</c:v>
                </c:pt>
                <c:pt idx="2744">
                  <c:v>0</c:v>
                </c:pt>
                <c:pt idx="2745">
                  <c:v>0</c:v>
                </c:pt>
                <c:pt idx="2746">
                  <c:v>0</c:v>
                </c:pt>
                <c:pt idx="2747">
                  <c:v>0</c:v>
                </c:pt>
                <c:pt idx="2748">
                  <c:v>0</c:v>
                </c:pt>
                <c:pt idx="2749">
                  <c:v>0</c:v>
                </c:pt>
                <c:pt idx="2750">
                  <c:v>0</c:v>
                </c:pt>
                <c:pt idx="2751">
                  <c:v>0</c:v>
                </c:pt>
                <c:pt idx="2752">
                  <c:v>0</c:v>
                </c:pt>
                <c:pt idx="2753">
                  <c:v>0</c:v>
                </c:pt>
                <c:pt idx="2754">
                  <c:v>0</c:v>
                </c:pt>
                <c:pt idx="2755">
                  <c:v>0</c:v>
                </c:pt>
                <c:pt idx="2756">
                  <c:v>0</c:v>
                </c:pt>
                <c:pt idx="2757">
                  <c:v>0</c:v>
                </c:pt>
                <c:pt idx="2758">
                  <c:v>0</c:v>
                </c:pt>
                <c:pt idx="2759">
                  <c:v>0</c:v>
                </c:pt>
                <c:pt idx="2760">
                  <c:v>0</c:v>
                </c:pt>
                <c:pt idx="2761">
                  <c:v>0</c:v>
                </c:pt>
                <c:pt idx="2762">
                  <c:v>0</c:v>
                </c:pt>
                <c:pt idx="2763">
                  <c:v>0</c:v>
                </c:pt>
                <c:pt idx="2764">
                  <c:v>0</c:v>
                </c:pt>
                <c:pt idx="2765">
                  <c:v>0</c:v>
                </c:pt>
                <c:pt idx="2766">
                  <c:v>0</c:v>
                </c:pt>
                <c:pt idx="2767">
                  <c:v>0</c:v>
                </c:pt>
                <c:pt idx="2768">
                  <c:v>0</c:v>
                </c:pt>
                <c:pt idx="2769">
                  <c:v>0</c:v>
                </c:pt>
                <c:pt idx="2770">
                  <c:v>0</c:v>
                </c:pt>
                <c:pt idx="2771">
                  <c:v>0</c:v>
                </c:pt>
                <c:pt idx="2772">
                  <c:v>0</c:v>
                </c:pt>
                <c:pt idx="2773">
                  <c:v>0</c:v>
                </c:pt>
                <c:pt idx="2774">
                  <c:v>0</c:v>
                </c:pt>
                <c:pt idx="2775">
                  <c:v>0</c:v>
                </c:pt>
                <c:pt idx="2776">
                  <c:v>0</c:v>
                </c:pt>
                <c:pt idx="2777">
                  <c:v>0</c:v>
                </c:pt>
                <c:pt idx="2778">
                  <c:v>0</c:v>
                </c:pt>
                <c:pt idx="2779">
                  <c:v>0</c:v>
                </c:pt>
                <c:pt idx="2780">
                  <c:v>0</c:v>
                </c:pt>
                <c:pt idx="2781">
                  <c:v>0</c:v>
                </c:pt>
                <c:pt idx="2782">
                  <c:v>0</c:v>
                </c:pt>
                <c:pt idx="2783">
                  <c:v>0</c:v>
                </c:pt>
                <c:pt idx="2784">
                  <c:v>0</c:v>
                </c:pt>
                <c:pt idx="2785">
                  <c:v>0</c:v>
                </c:pt>
                <c:pt idx="2786">
                  <c:v>0</c:v>
                </c:pt>
                <c:pt idx="2787">
                  <c:v>0</c:v>
                </c:pt>
                <c:pt idx="2788">
                  <c:v>0</c:v>
                </c:pt>
                <c:pt idx="2789">
                  <c:v>0</c:v>
                </c:pt>
                <c:pt idx="2790">
                  <c:v>0</c:v>
                </c:pt>
                <c:pt idx="2791">
                  <c:v>0</c:v>
                </c:pt>
                <c:pt idx="2792">
                  <c:v>0</c:v>
                </c:pt>
                <c:pt idx="2793">
                  <c:v>0</c:v>
                </c:pt>
                <c:pt idx="2794">
                  <c:v>0</c:v>
                </c:pt>
                <c:pt idx="2795">
                  <c:v>0</c:v>
                </c:pt>
                <c:pt idx="2796">
                  <c:v>0</c:v>
                </c:pt>
                <c:pt idx="2797">
                  <c:v>0</c:v>
                </c:pt>
                <c:pt idx="2798">
                  <c:v>0</c:v>
                </c:pt>
                <c:pt idx="2799">
                  <c:v>0</c:v>
                </c:pt>
                <c:pt idx="2800">
                  <c:v>0</c:v>
                </c:pt>
                <c:pt idx="2801">
                  <c:v>0</c:v>
                </c:pt>
                <c:pt idx="2802">
                  <c:v>0</c:v>
                </c:pt>
                <c:pt idx="2803">
                  <c:v>0</c:v>
                </c:pt>
                <c:pt idx="2804">
                  <c:v>0</c:v>
                </c:pt>
                <c:pt idx="2805">
                  <c:v>0</c:v>
                </c:pt>
                <c:pt idx="2806">
                  <c:v>0</c:v>
                </c:pt>
                <c:pt idx="2807">
                  <c:v>0</c:v>
                </c:pt>
                <c:pt idx="2808">
                  <c:v>0</c:v>
                </c:pt>
                <c:pt idx="2809">
                  <c:v>0</c:v>
                </c:pt>
                <c:pt idx="2810">
                  <c:v>0</c:v>
                </c:pt>
                <c:pt idx="2811">
                  <c:v>0</c:v>
                </c:pt>
                <c:pt idx="2812">
                  <c:v>0</c:v>
                </c:pt>
                <c:pt idx="2813">
                  <c:v>0</c:v>
                </c:pt>
                <c:pt idx="2814">
                  <c:v>0</c:v>
                </c:pt>
                <c:pt idx="2815">
                  <c:v>0</c:v>
                </c:pt>
                <c:pt idx="2816">
                  <c:v>0</c:v>
                </c:pt>
                <c:pt idx="2817">
                  <c:v>0</c:v>
                </c:pt>
                <c:pt idx="2818">
                  <c:v>0</c:v>
                </c:pt>
                <c:pt idx="2819">
                  <c:v>0</c:v>
                </c:pt>
                <c:pt idx="2820">
                  <c:v>0</c:v>
                </c:pt>
                <c:pt idx="2821">
                  <c:v>0</c:v>
                </c:pt>
                <c:pt idx="2822">
                  <c:v>0</c:v>
                </c:pt>
                <c:pt idx="2823">
                  <c:v>0</c:v>
                </c:pt>
                <c:pt idx="2824">
                  <c:v>0</c:v>
                </c:pt>
                <c:pt idx="2825">
                  <c:v>0</c:v>
                </c:pt>
                <c:pt idx="2826">
                  <c:v>0</c:v>
                </c:pt>
                <c:pt idx="2827">
                  <c:v>0</c:v>
                </c:pt>
                <c:pt idx="2828">
                  <c:v>0</c:v>
                </c:pt>
                <c:pt idx="2829">
                  <c:v>0</c:v>
                </c:pt>
                <c:pt idx="2830">
                  <c:v>0</c:v>
                </c:pt>
                <c:pt idx="2831">
                  <c:v>0</c:v>
                </c:pt>
                <c:pt idx="2832">
                  <c:v>0</c:v>
                </c:pt>
                <c:pt idx="2833">
                  <c:v>0</c:v>
                </c:pt>
                <c:pt idx="2834">
                  <c:v>0</c:v>
                </c:pt>
                <c:pt idx="2835">
                  <c:v>0</c:v>
                </c:pt>
                <c:pt idx="2836">
                  <c:v>0</c:v>
                </c:pt>
                <c:pt idx="2837">
                  <c:v>0</c:v>
                </c:pt>
                <c:pt idx="2838">
                  <c:v>0</c:v>
                </c:pt>
                <c:pt idx="2839">
                  <c:v>0</c:v>
                </c:pt>
                <c:pt idx="2840">
                  <c:v>0</c:v>
                </c:pt>
                <c:pt idx="2841">
                  <c:v>0</c:v>
                </c:pt>
                <c:pt idx="2842">
                  <c:v>0</c:v>
                </c:pt>
                <c:pt idx="2843">
                  <c:v>0</c:v>
                </c:pt>
                <c:pt idx="2844">
                  <c:v>0</c:v>
                </c:pt>
                <c:pt idx="2845">
                  <c:v>0</c:v>
                </c:pt>
                <c:pt idx="2846">
                  <c:v>0</c:v>
                </c:pt>
                <c:pt idx="2847">
                  <c:v>0</c:v>
                </c:pt>
                <c:pt idx="2848">
                  <c:v>0</c:v>
                </c:pt>
                <c:pt idx="2849">
                  <c:v>0</c:v>
                </c:pt>
                <c:pt idx="2850">
                  <c:v>0</c:v>
                </c:pt>
                <c:pt idx="2851">
                  <c:v>0</c:v>
                </c:pt>
                <c:pt idx="2852">
                  <c:v>0</c:v>
                </c:pt>
                <c:pt idx="2853">
                  <c:v>0</c:v>
                </c:pt>
                <c:pt idx="2854">
                  <c:v>0</c:v>
                </c:pt>
                <c:pt idx="2855">
                  <c:v>0</c:v>
                </c:pt>
                <c:pt idx="2856">
                  <c:v>0</c:v>
                </c:pt>
                <c:pt idx="2857">
                  <c:v>0</c:v>
                </c:pt>
                <c:pt idx="2858">
                  <c:v>0</c:v>
                </c:pt>
                <c:pt idx="2859">
                  <c:v>0</c:v>
                </c:pt>
                <c:pt idx="2860">
                  <c:v>0</c:v>
                </c:pt>
                <c:pt idx="2861">
                  <c:v>0</c:v>
                </c:pt>
                <c:pt idx="2862">
                  <c:v>0</c:v>
                </c:pt>
                <c:pt idx="2863">
                  <c:v>0</c:v>
                </c:pt>
                <c:pt idx="2864">
                  <c:v>0</c:v>
                </c:pt>
                <c:pt idx="2865">
                  <c:v>0</c:v>
                </c:pt>
                <c:pt idx="2866">
                  <c:v>0</c:v>
                </c:pt>
                <c:pt idx="2867">
                  <c:v>0</c:v>
                </c:pt>
                <c:pt idx="2868">
                  <c:v>0</c:v>
                </c:pt>
                <c:pt idx="2869">
                  <c:v>0</c:v>
                </c:pt>
                <c:pt idx="2870">
                  <c:v>0</c:v>
                </c:pt>
                <c:pt idx="2871">
                  <c:v>0</c:v>
                </c:pt>
                <c:pt idx="2872">
                  <c:v>0</c:v>
                </c:pt>
                <c:pt idx="2873">
                  <c:v>0</c:v>
                </c:pt>
                <c:pt idx="2874">
                  <c:v>0</c:v>
                </c:pt>
                <c:pt idx="2875">
                  <c:v>0</c:v>
                </c:pt>
                <c:pt idx="2876">
                  <c:v>0</c:v>
                </c:pt>
                <c:pt idx="2877">
                  <c:v>0</c:v>
                </c:pt>
                <c:pt idx="2878">
                  <c:v>0</c:v>
                </c:pt>
                <c:pt idx="2879">
                  <c:v>0</c:v>
                </c:pt>
                <c:pt idx="2880">
                  <c:v>0</c:v>
                </c:pt>
                <c:pt idx="2881">
                  <c:v>0</c:v>
                </c:pt>
                <c:pt idx="2882">
                  <c:v>0</c:v>
                </c:pt>
                <c:pt idx="2883">
                  <c:v>0</c:v>
                </c:pt>
                <c:pt idx="2884">
                  <c:v>0</c:v>
                </c:pt>
                <c:pt idx="2885">
                  <c:v>0</c:v>
                </c:pt>
                <c:pt idx="2886">
                  <c:v>0</c:v>
                </c:pt>
                <c:pt idx="2887">
                  <c:v>0</c:v>
                </c:pt>
                <c:pt idx="2888">
                  <c:v>0</c:v>
                </c:pt>
                <c:pt idx="2889">
                  <c:v>0</c:v>
                </c:pt>
                <c:pt idx="2890">
                  <c:v>0</c:v>
                </c:pt>
                <c:pt idx="2891">
                  <c:v>0</c:v>
                </c:pt>
                <c:pt idx="2892">
                  <c:v>0</c:v>
                </c:pt>
                <c:pt idx="2893">
                  <c:v>0</c:v>
                </c:pt>
                <c:pt idx="2894">
                  <c:v>0</c:v>
                </c:pt>
                <c:pt idx="2895">
                  <c:v>0</c:v>
                </c:pt>
                <c:pt idx="2896">
                  <c:v>0</c:v>
                </c:pt>
                <c:pt idx="2897">
                  <c:v>0</c:v>
                </c:pt>
                <c:pt idx="2898">
                  <c:v>0</c:v>
                </c:pt>
                <c:pt idx="2899">
                  <c:v>0</c:v>
                </c:pt>
                <c:pt idx="2900">
                  <c:v>0</c:v>
                </c:pt>
                <c:pt idx="2901">
                  <c:v>0</c:v>
                </c:pt>
                <c:pt idx="2902">
                  <c:v>0</c:v>
                </c:pt>
                <c:pt idx="2903">
                  <c:v>0</c:v>
                </c:pt>
                <c:pt idx="2904">
                  <c:v>0</c:v>
                </c:pt>
                <c:pt idx="2905">
                  <c:v>0</c:v>
                </c:pt>
                <c:pt idx="2906">
                  <c:v>0</c:v>
                </c:pt>
                <c:pt idx="2907">
                  <c:v>0</c:v>
                </c:pt>
                <c:pt idx="2908">
                  <c:v>0</c:v>
                </c:pt>
                <c:pt idx="2909">
                  <c:v>0</c:v>
                </c:pt>
                <c:pt idx="2910">
                  <c:v>0</c:v>
                </c:pt>
                <c:pt idx="2911">
                  <c:v>0</c:v>
                </c:pt>
                <c:pt idx="2912">
                  <c:v>0</c:v>
                </c:pt>
                <c:pt idx="2913">
                  <c:v>0</c:v>
                </c:pt>
                <c:pt idx="2914">
                  <c:v>0</c:v>
                </c:pt>
                <c:pt idx="2915">
                  <c:v>0</c:v>
                </c:pt>
                <c:pt idx="2916">
                  <c:v>0</c:v>
                </c:pt>
                <c:pt idx="2917">
                  <c:v>0</c:v>
                </c:pt>
                <c:pt idx="2918">
                  <c:v>0</c:v>
                </c:pt>
                <c:pt idx="2919">
                  <c:v>0</c:v>
                </c:pt>
                <c:pt idx="2920">
                  <c:v>0</c:v>
                </c:pt>
                <c:pt idx="2921">
                  <c:v>0</c:v>
                </c:pt>
                <c:pt idx="2922">
                  <c:v>0</c:v>
                </c:pt>
                <c:pt idx="2923">
                  <c:v>0</c:v>
                </c:pt>
                <c:pt idx="2924">
                  <c:v>0</c:v>
                </c:pt>
                <c:pt idx="2925">
                  <c:v>0</c:v>
                </c:pt>
                <c:pt idx="2926">
                  <c:v>0</c:v>
                </c:pt>
                <c:pt idx="2927">
                  <c:v>0</c:v>
                </c:pt>
                <c:pt idx="2928">
                  <c:v>0</c:v>
                </c:pt>
                <c:pt idx="2929">
                  <c:v>0</c:v>
                </c:pt>
                <c:pt idx="2930">
                  <c:v>0</c:v>
                </c:pt>
                <c:pt idx="2931">
                  <c:v>0</c:v>
                </c:pt>
                <c:pt idx="2932">
                  <c:v>0</c:v>
                </c:pt>
                <c:pt idx="2933">
                  <c:v>0</c:v>
                </c:pt>
                <c:pt idx="2934">
                  <c:v>0</c:v>
                </c:pt>
                <c:pt idx="2935">
                  <c:v>0</c:v>
                </c:pt>
                <c:pt idx="2936">
                  <c:v>0</c:v>
                </c:pt>
                <c:pt idx="2937">
                  <c:v>0</c:v>
                </c:pt>
                <c:pt idx="2938">
                  <c:v>0</c:v>
                </c:pt>
                <c:pt idx="2939">
                  <c:v>0</c:v>
                </c:pt>
                <c:pt idx="2940">
                  <c:v>0</c:v>
                </c:pt>
                <c:pt idx="2941">
                  <c:v>0</c:v>
                </c:pt>
                <c:pt idx="2942">
                  <c:v>0</c:v>
                </c:pt>
                <c:pt idx="2943">
                  <c:v>0</c:v>
                </c:pt>
                <c:pt idx="2944">
                  <c:v>0</c:v>
                </c:pt>
                <c:pt idx="2945">
                  <c:v>0</c:v>
                </c:pt>
                <c:pt idx="2946">
                  <c:v>0</c:v>
                </c:pt>
                <c:pt idx="2947">
                  <c:v>0</c:v>
                </c:pt>
                <c:pt idx="2948">
                  <c:v>0</c:v>
                </c:pt>
                <c:pt idx="2949">
                  <c:v>0</c:v>
                </c:pt>
                <c:pt idx="2950">
                  <c:v>0</c:v>
                </c:pt>
                <c:pt idx="2951">
                  <c:v>0</c:v>
                </c:pt>
                <c:pt idx="2952">
                  <c:v>0</c:v>
                </c:pt>
                <c:pt idx="2953">
                  <c:v>0</c:v>
                </c:pt>
                <c:pt idx="2954">
                  <c:v>0</c:v>
                </c:pt>
                <c:pt idx="2955">
                  <c:v>0</c:v>
                </c:pt>
                <c:pt idx="2956">
                  <c:v>0</c:v>
                </c:pt>
                <c:pt idx="2957">
                  <c:v>0</c:v>
                </c:pt>
                <c:pt idx="2958">
                  <c:v>0</c:v>
                </c:pt>
                <c:pt idx="2959">
                  <c:v>0</c:v>
                </c:pt>
                <c:pt idx="2960">
                  <c:v>0</c:v>
                </c:pt>
                <c:pt idx="2961">
                  <c:v>0</c:v>
                </c:pt>
                <c:pt idx="2962">
                  <c:v>0</c:v>
                </c:pt>
                <c:pt idx="2963">
                  <c:v>0</c:v>
                </c:pt>
                <c:pt idx="2964">
                  <c:v>0</c:v>
                </c:pt>
                <c:pt idx="2965">
                  <c:v>0</c:v>
                </c:pt>
                <c:pt idx="2966">
                  <c:v>0</c:v>
                </c:pt>
                <c:pt idx="2967">
                  <c:v>0</c:v>
                </c:pt>
                <c:pt idx="2968">
                  <c:v>0</c:v>
                </c:pt>
                <c:pt idx="2969">
                  <c:v>0</c:v>
                </c:pt>
                <c:pt idx="2970">
                  <c:v>0</c:v>
                </c:pt>
                <c:pt idx="2971">
                  <c:v>0</c:v>
                </c:pt>
                <c:pt idx="2972">
                  <c:v>0</c:v>
                </c:pt>
                <c:pt idx="2973">
                  <c:v>0</c:v>
                </c:pt>
                <c:pt idx="2974">
                  <c:v>0</c:v>
                </c:pt>
                <c:pt idx="2975">
                  <c:v>0</c:v>
                </c:pt>
                <c:pt idx="2976">
                  <c:v>0</c:v>
                </c:pt>
                <c:pt idx="2977">
                  <c:v>0</c:v>
                </c:pt>
                <c:pt idx="2978">
                  <c:v>0</c:v>
                </c:pt>
                <c:pt idx="2979">
                  <c:v>0</c:v>
                </c:pt>
                <c:pt idx="2980">
                  <c:v>0</c:v>
                </c:pt>
                <c:pt idx="2981">
                  <c:v>0</c:v>
                </c:pt>
                <c:pt idx="2982">
                  <c:v>0</c:v>
                </c:pt>
                <c:pt idx="2983">
                  <c:v>0</c:v>
                </c:pt>
                <c:pt idx="2984">
                  <c:v>0</c:v>
                </c:pt>
                <c:pt idx="2985">
                  <c:v>0</c:v>
                </c:pt>
                <c:pt idx="2986">
                  <c:v>0</c:v>
                </c:pt>
                <c:pt idx="2987">
                  <c:v>0</c:v>
                </c:pt>
                <c:pt idx="2988">
                  <c:v>0</c:v>
                </c:pt>
                <c:pt idx="2989">
                  <c:v>0</c:v>
                </c:pt>
                <c:pt idx="2990">
                  <c:v>0</c:v>
                </c:pt>
                <c:pt idx="2991">
                  <c:v>0</c:v>
                </c:pt>
                <c:pt idx="2992">
                  <c:v>0</c:v>
                </c:pt>
                <c:pt idx="2993">
                  <c:v>0</c:v>
                </c:pt>
                <c:pt idx="2994">
                  <c:v>0</c:v>
                </c:pt>
                <c:pt idx="2995">
                  <c:v>0</c:v>
                </c:pt>
                <c:pt idx="2996">
                  <c:v>0</c:v>
                </c:pt>
                <c:pt idx="2997">
                  <c:v>0</c:v>
                </c:pt>
                <c:pt idx="2998">
                  <c:v>0</c:v>
                </c:pt>
                <c:pt idx="2999">
                  <c:v>0</c:v>
                </c:pt>
                <c:pt idx="3000">
                  <c:v>0</c:v>
                </c:pt>
                <c:pt idx="3001">
                  <c:v>0</c:v>
                </c:pt>
                <c:pt idx="3002">
                  <c:v>0</c:v>
                </c:pt>
                <c:pt idx="3003">
                  <c:v>0</c:v>
                </c:pt>
                <c:pt idx="3004">
                  <c:v>0</c:v>
                </c:pt>
                <c:pt idx="3005">
                  <c:v>0</c:v>
                </c:pt>
                <c:pt idx="3006">
                  <c:v>0</c:v>
                </c:pt>
                <c:pt idx="3007">
                  <c:v>0</c:v>
                </c:pt>
                <c:pt idx="3008">
                  <c:v>0</c:v>
                </c:pt>
                <c:pt idx="3009">
                  <c:v>0</c:v>
                </c:pt>
                <c:pt idx="3010">
                  <c:v>0</c:v>
                </c:pt>
                <c:pt idx="3011">
                  <c:v>0</c:v>
                </c:pt>
                <c:pt idx="3012">
                  <c:v>0</c:v>
                </c:pt>
                <c:pt idx="3013">
                  <c:v>0</c:v>
                </c:pt>
                <c:pt idx="3014">
                  <c:v>0</c:v>
                </c:pt>
                <c:pt idx="3015">
                  <c:v>0</c:v>
                </c:pt>
                <c:pt idx="3016">
                  <c:v>0</c:v>
                </c:pt>
                <c:pt idx="3017">
                  <c:v>0</c:v>
                </c:pt>
                <c:pt idx="3018">
                  <c:v>0</c:v>
                </c:pt>
                <c:pt idx="3019">
                  <c:v>0</c:v>
                </c:pt>
                <c:pt idx="3020">
                  <c:v>0</c:v>
                </c:pt>
                <c:pt idx="3021">
                  <c:v>0</c:v>
                </c:pt>
                <c:pt idx="3022">
                  <c:v>0</c:v>
                </c:pt>
                <c:pt idx="3023">
                  <c:v>0</c:v>
                </c:pt>
                <c:pt idx="3024">
                  <c:v>0</c:v>
                </c:pt>
                <c:pt idx="3025">
                  <c:v>0</c:v>
                </c:pt>
                <c:pt idx="3026">
                  <c:v>0</c:v>
                </c:pt>
                <c:pt idx="3027">
                  <c:v>0</c:v>
                </c:pt>
                <c:pt idx="3028">
                  <c:v>0</c:v>
                </c:pt>
                <c:pt idx="3029">
                  <c:v>0</c:v>
                </c:pt>
                <c:pt idx="3030">
                  <c:v>0</c:v>
                </c:pt>
                <c:pt idx="3031">
                  <c:v>0</c:v>
                </c:pt>
                <c:pt idx="3032">
                  <c:v>0</c:v>
                </c:pt>
                <c:pt idx="3033">
                  <c:v>0</c:v>
                </c:pt>
                <c:pt idx="3034">
                  <c:v>0</c:v>
                </c:pt>
                <c:pt idx="3035">
                  <c:v>0</c:v>
                </c:pt>
                <c:pt idx="3036">
                  <c:v>0</c:v>
                </c:pt>
                <c:pt idx="3037">
                  <c:v>0</c:v>
                </c:pt>
                <c:pt idx="3038">
                  <c:v>0</c:v>
                </c:pt>
                <c:pt idx="3039">
                  <c:v>0</c:v>
                </c:pt>
                <c:pt idx="3040">
                  <c:v>0</c:v>
                </c:pt>
                <c:pt idx="3041">
                  <c:v>0</c:v>
                </c:pt>
                <c:pt idx="3042">
                  <c:v>0</c:v>
                </c:pt>
                <c:pt idx="3043">
                  <c:v>0</c:v>
                </c:pt>
                <c:pt idx="3044">
                  <c:v>0</c:v>
                </c:pt>
                <c:pt idx="3045">
                  <c:v>0</c:v>
                </c:pt>
                <c:pt idx="3046">
                  <c:v>0</c:v>
                </c:pt>
                <c:pt idx="3047">
                  <c:v>0</c:v>
                </c:pt>
                <c:pt idx="3048">
                  <c:v>0</c:v>
                </c:pt>
                <c:pt idx="3049">
                  <c:v>0</c:v>
                </c:pt>
                <c:pt idx="3050">
                  <c:v>0</c:v>
                </c:pt>
                <c:pt idx="3051">
                  <c:v>0</c:v>
                </c:pt>
                <c:pt idx="3052">
                  <c:v>0</c:v>
                </c:pt>
                <c:pt idx="3053">
                  <c:v>0</c:v>
                </c:pt>
                <c:pt idx="3054">
                  <c:v>0</c:v>
                </c:pt>
                <c:pt idx="3055">
                  <c:v>0</c:v>
                </c:pt>
                <c:pt idx="3056">
                  <c:v>0</c:v>
                </c:pt>
                <c:pt idx="3057">
                  <c:v>0</c:v>
                </c:pt>
                <c:pt idx="3058">
                  <c:v>0</c:v>
                </c:pt>
                <c:pt idx="3059">
                  <c:v>0</c:v>
                </c:pt>
                <c:pt idx="3060">
                  <c:v>0</c:v>
                </c:pt>
                <c:pt idx="3061">
                  <c:v>0</c:v>
                </c:pt>
                <c:pt idx="3062">
                  <c:v>0</c:v>
                </c:pt>
                <c:pt idx="3063">
                  <c:v>0</c:v>
                </c:pt>
                <c:pt idx="3064">
                  <c:v>0</c:v>
                </c:pt>
                <c:pt idx="3065">
                  <c:v>0</c:v>
                </c:pt>
                <c:pt idx="3066">
                  <c:v>0</c:v>
                </c:pt>
                <c:pt idx="3067">
                  <c:v>0</c:v>
                </c:pt>
                <c:pt idx="3068">
                  <c:v>0</c:v>
                </c:pt>
                <c:pt idx="3069">
                  <c:v>0</c:v>
                </c:pt>
                <c:pt idx="3070">
                  <c:v>0</c:v>
                </c:pt>
                <c:pt idx="3071">
                  <c:v>0</c:v>
                </c:pt>
                <c:pt idx="3072">
                  <c:v>0</c:v>
                </c:pt>
                <c:pt idx="3073">
                  <c:v>0</c:v>
                </c:pt>
                <c:pt idx="3074">
                  <c:v>0</c:v>
                </c:pt>
                <c:pt idx="3075">
                  <c:v>0</c:v>
                </c:pt>
                <c:pt idx="3076">
                  <c:v>0</c:v>
                </c:pt>
                <c:pt idx="3077">
                  <c:v>0</c:v>
                </c:pt>
                <c:pt idx="3078">
                  <c:v>0</c:v>
                </c:pt>
                <c:pt idx="3079">
                  <c:v>0</c:v>
                </c:pt>
                <c:pt idx="3080">
                  <c:v>0</c:v>
                </c:pt>
                <c:pt idx="3081">
                  <c:v>0</c:v>
                </c:pt>
                <c:pt idx="3082">
                  <c:v>0</c:v>
                </c:pt>
                <c:pt idx="3083">
                  <c:v>0</c:v>
                </c:pt>
                <c:pt idx="3084">
                  <c:v>0</c:v>
                </c:pt>
                <c:pt idx="3085">
                  <c:v>0</c:v>
                </c:pt>
                <c:pt idx="3086">
                  <c:v>0</c:v>
                </c:pt>
                <c:pt idx="3087">
                  <c:v>0</c:v>
                </c:pt>
                <c:pt idx="3088">
                  <c:v>0</c:v>
                </c:pt>
                <c:pt idx="3089">
                  <c:v>0</c:v>
                </c:pt>
                <c:pt idx="3090">
                  <c:v>0</c:v>
                </c:pt>
                <c:pt idx="3091">
                  <c:v>0</c:v>
                </c:pt>
                <c:pt idx="3092">
                  <c:v>0</c:v>
                </c:pt>
                <c:pt idx="3093">
                  <c:v>0</c:v>
                </c:pt>
                <c:pt idx="3094">
                  <c:v>0</c:v>
                </c:pt>
                <c:pt idx="3095">
                  <c:v>0</c:v>
                </c:pt>
                <c:pt idx="3096">
                  <c:v>0</c:v>
                </c:pt>
                <c:pt idx="3097">
                  <c:v>0</c:v>
                </c:pt>
                <c:pt idx="3098">
                  <c:v>0</c:v>
                </c:pt>
                <c:pt idx="3099">
                  <c:v>0</c:v>
                </c:pt>
                <c:pt idx="3100">
                  <c:v>0</c:v>
                </c:pt>
                <c:pt idx="3101">
                  <c:v>0</c:v>
                </c:pt>
                <c:pt idx="3102">
                  <c:v>0</c:v>
                </c:pt>
                <c:pt idx="3103">
                  <c:v>0</c:v>
                </c:pt>
                <c:pt idx="3104">
                  <c:v>0</c:v>
                </c:pt>
                <c:pt idx="3105">
                  <c:v>0</c:v>
                </c:pt>
                <c:pt idx="3106">
                  <c:v>0</c:v>
                </c:pt>
                <c:pt idx="3107">
                  <c:v>0</c:v>
                </c:pt>
                <c:pt idx="3108">
                  <c:v>0</c:v>
                </c:pt>
                <c:pt idx="3109">
                  <c:v>0</c:v>
                </c:pt>
                <c:pt idx="3110">
                  <c:v>0</c:v>
                </c:pt>
                <c:pt idx="3111">
                  <c:v>0</c:v>
                </c:pt>
                <c:pt idx="3112">
                  <c:v>0</c:v>
                </c:pt>
                <c:pt idx="3113">
                  <c:v>0</c:v>
                </c:pt>
                <c:pt idx="3114">
                  <c:v>0</c:v>
                </c:pt>
                <c:pt idx="3115">
                  <c:v>0</c:v>
                </c:pt>
                <c:pt idx="3116">
                  <c:v>0</c:v>
                </c:pt>
                <c:pt idx="3117">
                  <c:v>0</c:v>
                </c:pt>
                <c:pt idx="3118">
                  <c:v>0</c:v>
                </c:pt>
                <c:pt idx="3119">
                  <c:v>0</c:v>
                </c:pt>
                <c:pt idx="3120">
                  <c:v>0</c:v>
                </c:pt>
                <c:pt idx="3121">
                  <c:v>0</c:v>
                </c:pt>
                <c:pt idx="3122">
                  <c:v>0</c:v>
                </c:pt>
                <c:pt idx="3123">
                  <c:v>0</c:v>
                </c:pt>
                <c:pt idx="3124">
                  <c:v>0</c:v>
                </c:pt>
                <c:pt idx="3125">
                  <c:v>0</c:v>
                </c:pt>
                <c:pt idx="3126">
                  <c:v>0</c:v>
                </c:pt>
                <c:pt idx="3127">
                  <c:v>0</c:v>
                </c:pt>
                <c:pt idx="3128">
                  <c:v>0</c:v>
                </c:pt>
                <c:pt idx="3129">
                  <c:v>0</c:v>
                </c:pt>
                <c:pt idx="3130">
                  <c:v>0</c:v>
                </c:pt>
                <c:pt idx="3131">
                  <c:v>0</c:v>
                </c:pt>
                <c:pt idx="3132">
                  <c:v>0</c:v>
                </c:pt>
                <c:pt idx="3133">
                  <c:v>0</c:v>
                </c:pt>
                <c:pt idx="3134">
                  <c:v>0</c:v>
                </c:pt>
                <c:pt idx="3135">
                  <c:v>0</c:v>
                </c:pt>
                <c:pt idx="3136">
                  <c:v>0</c:v>
                </c:pt>
                <c:pt idx="3137">
                  <c:v>0</c:v>
                </c:pt>
                <c:pt idx="3138">
                  <c:v>0</c:v>
                </c:pt>
                <c:pt idx="3139">
                  <c:v>0</c:v>
                </c:pt>
                <c:pt idx="3140">
                  <c:v>0</c:v>
                </c:pt>
                <c:pt idx="3141">
                  <c:v>0</c:v>
                </c:pt>
                <c:pt idx="3142">
                  <c:v>0</c:v>
                </c:pt>
                <c:pt idx="3143">
                  <c:v>0</c:v>
                </c:pt>
                <c:pt idx="3144">
                  <c:v>0</c:v>
                </c:pt>
                <c:pt idx="3145">
                  <c:v>0</c:v>
                </c:pt>
                <c:pt idx="3146">
                  <c:v>0</c:v>
                </c:pt>
                <c:pt idx="3147">
                  <c:v>0</c:v>
                </c:pt>
                <c:pt idx="3148">
                  <c:v>0</c:v>
                </c:pt>
                <c:pt idx="3149">
                  <c:v>0</c:v>
                </c:pt>
                <c:pt idx="3150">
                  <c:v>0</c:v>
                </c:pt>
                <c:pt idx="3151">
                  <c:v>0</c:v>
                </c:pt>
                <c:pt idx="3152">
                  <c:v>0</c:v>
                </c:pt>
                <c:pt idx="3153">
                  <c:v>0</c:v>
                </c:pt>
                <c:pt idx="3154">
                  <c:v>0</c:v>
                </c:pt>
                <c:pt idx="3155">
                  <c:v>0</c:v>
                </c:pt>
                <c:pt idx="3156">
                  <c:v>0</c:v>
                </c:pt>
                <c:pt idx="3157">
                  <c:v>0</c:v>
                </c:pt>
                <c:pt idx="3158">
                  <c:v>0</c:v>
                </c:pt>
                <c:pt idx="3159">
                  <c:v>0</c:v>
                </c:pt>
                <c:pt idx="3160">
                  <c:v>0</c:v>
                </c:pt>
                <c:pt idx="3161">
                  <c:v>0</c:v>
                </c:pt>
                <c:pt idx="3162">
                  <c:v>0</c:v>
                </c:pt>
                <c:pt idx="3163">
                  <c:v>0</c:v>
                </c:pt>
                <c:pt idx="3164">
                  <c:v>0</c:v>
                </c:pt>
                <c:pt idx="3165">
                  <c:v>0</c:v>
                </c:pt>
                <c:pt idx="3166">
                  <c:v>0</c:v>
                </c:pt>
                <c:pt idx="3167">
                  <c:v>0</c:v>
                </c:pt>
                <c:pt idx="3168">
                  <c:v>0</c:v>
                </c:pt>
                <c:pt idx="3169">
                  <c:v>0</c:v>
                </c:pt>
                <c:pt idx="3170">
                  <c:v>0</c:v>
                </c:pt>
                <c:pt idx="3171">
                  <c:v>0</c:v>
                </c:pt>
                <c:pt idx="3172">
                  <c:v>0</c:v>
                </c:pt>
                <c:pt idx="3173">
                  <c:v>0</c:v>
                </c:pt>
                <c:pt idx="3174">
                  <c:v>0</c:v>
                </c:pt>
                <c:pt idx="3175">
                  <c:v>0</c:v>
                </c:pt>
                <c:pt idx="3176">
                  <c:v>0</c:v>
                </c:pt>
                <c:pt idx="3177">
                  <c:v>0</c:v>
                </c:pt>
                <c:pt idx="3178">
                  <c:v>0</c:v>
                </c:pt>
                <c:pt idx="3179">
                  <c:v>0</c:v>
                </c:pt>
                <c:pt idx="3180">
                  <c:v>0</c:v>
                </c:pt>
                <c:pt idx="3181">
                  <c:v>0</c:v>
                </c:pt>
                <c:pt idx="3182">
                  <c:v>0</c:v>
                </c:pt>
                <c:pt idx="3183">
                  <c:v>0</c:v>
                </c:pt>
                <c:pt idx="3184">
                  <c:v>0</c:v>
                </c:pt>
                <c:pt idx="3185">
                  <c:v>0</c:v>
                </c:pt>
                <c:pt idx="3186">
                  <c:v>0</c:v>
                </c:pt>
                <c:pt idx="3187">
                  <c:v>0</c:v>
                </c:pt>
                <c:pt idx="3188">
                  <c:v>0</c:v>
                </c:pt>
                <c:pt idx="3189">
                  <c:v>0</c:v>
                </c:pt>
                <c:pt idx="3190">
                  <c:v>0</c:v>
                </c:pt>
                <c:pt idx="3191">
                  <c:v>0</c:v>
                </c:pt>
                <c:pt idx="3192">
                  <c:v>0</c:v>
                </c:pt>
                <c:pt idx="3193">
                  <c:v>0</c:v>
                </c:pt>
                <c:pt idx="3194">
                  <c:v>0</c:v>
                </c:pt>
                <c:pt idx="3195">
                  <c:v>0</c:v>
                </c:pt>
                <c:pt idx="3196">
                  <c:v>0</c:v>
                </c:pt>
                <c:pt idx="3197">
                  <c:v>0</c:v>
                </c:pt>
                <c:pt idx="3198">
                  <c:v>0</c:v>
                </c:pt>
                <c:pt idx="3199">
                  <c:v>0</c:v>
                </c:pt>
                <c:pt idx="3200">
                  <c:v>0</c:v>
                </c:pt>
                <c:pt idx="3201">
                  <c:v>0</c:v>
                </c:pt>
                <c:pt idx="3202">
                  <c:v>0</c:v>
                </c:pt>
                <c:pt idx="3203">
                  <c:v>0</c:v>
                </c:pt>
                <c:pt idx="3204">
                  <c:v>0</c:v>
                </c:pt>
                <c:pt idx="3205">
                  <c:v>0</c:v>
                </c:pt>
                <c:pt idx="3206">
                  <c:v>0</c:v>
                </c:pt>
                <c:pt idx="3207">
                  <c:v>0</c:v>
                </c:pt>
                <c:pt idx="3208">
                  <c:v>0</c:v>
                </c:pt>
                <c:pt idx="3209">
                  <c:v>0</c:v>
                </c:pt>
                <c:pt idx="3210">
                  <c:v>0</c:v>
                </c:pt>
                <c:pt idx="3211">
                  <c:v>0</c:v>
                </c:pt>
                <c:pt idx="3212">
                  <c:v>0</c:v>
                </c:pt>
                <c:pt idx="3213">
                  <c:v>0</c:v>
                </c:pt>
                <c:pt idx="3214">
                  <c:v>0</c:v>
                </c:pt>
                <c:pt idx="3215">
                  <c:v>0</c:v>
                </c:pt>
                <c:pt idx="3216">
                  <c:v>0</c:v>
                </c:pt>
                <c:pt idx="3217">
                  <c:v>0</c:v>
                </c:pt>
                <c:pt idx="3218">
                  <c:v>0</c:v>
                </c:pt>
                <c:pt idx="3219">
                  <c:v>0</c:v>
                </c:pt>
                <c:pt idx="3220">
                  <c:v>0</c:v>
                </c:pt>
                <c:pt idx="3221">
                  <c:v>0</c:v>
                </c:pt>
                <c:pt idx="3222">
                  <c:v>0</c:v>
                </c:pt>
                <c:pt idx="3223">
                  <c:v>0</c:v>
                </c:pt>
                <c:pt idx="3224">
                  <c:v>0</c:v>
                </c:pt>
                <c:pt idx="3225">
                  <c:v>0</c:v>
                </c:pt>
                <c:pt idx="3226">
                  <c:v>0</c:v>
                </c:pt>
                <c:pt idx="3227">
                  <c:v>0</c:v>
                </c:pt>
                <c:pt idx="3228">
                  <c:v>0</c:v>
                </c:pt>
                <c:pt idx="3229">
                  <c:v>0</c:v>
                </c:pt>
                <c:pt idx="3230">
                  <c:v>0</c:v>
                </c:pt>
                <c:pt idx="3231">
                  <c:v>0</c:v>
                </c:pt>
                <c:pt idx="3232">
                  <c:v>0</c:v>
                </c:pt>
                <c:pt idx="3233">
                  <c:v>0</c:v>
                </c:pt>
                <c:pt idx="3234">
                  <c:v>0</c:v>
                </c:pt>
                <c:pt idx="3235">
                  <c:v>0</c:v>
                </c:pt>
                <c:pt idx="3236">
                  <c:v>0</c:v>
                </c:pt>
                <c:pt idx="3237">
                  <c:v>0</c:v>
                </c:pt>
                <c:pt idx="3238">
                  <c:v>0</c:v>
                </c:pt>
                <c:pt idx="3239">
                  <c:v>0</c:v>
                </c:pt>
                <c:pt idx="3240">
                  <c:v>0</c:v>
                </c:pt>
                <c:pt idx="3241">
                  <c:v>0</c:v>
                </c:pt>
                <c:pt idx="3242">
                  <c:v>0</c:v>
                </c:pt>
                <c:pt idx="3243">
                  <c:v>0</c:v>
                </c:pt>
                <c:pt idx="3244">
                  <c:v>0</c:v>
                </c:pt>
                <c:pt idx="3245">
                  <c:v>0</c:v>
                </c:pt>
                <c:pt idx="3246">
                  <c:v>0</c:v>
                </c:pt>
                <c:pt idx="3247">
                  <c:v>0</c:v>
                </c:pt>
                <c:pt idx="3248">
                  <c:v>0</c:v>
                </c:pt>
                <c:pt idx="3249">
                  <c:v>0</c:v>
                </c:pt>
                <c:pt idx="3250">
                  <c:v>0</c:v>
                </c:pt>
                <c:pt idx="3251">
                  <c:v>0</c:v>
                </c:pt>
                <c:pt idx="3252">
                  <c:v>0</c:v>
                </c:pt>
                <c:pt idx="3253">
                  <c:v>0</c:v>
                </c:pt>
                <c:pt idx="3254">
                  <c:v>0</c:v>
                </c:pt>
                <c:pt idx="3255">
                  <c:v>0</c:v>
                </c:pt>
                <c:pt idx="3256">
                  <c:v>0</c:v>
                </c:pt>
                <c:pt idx="3257">
                  <c:v>0</c:v>
                </c:pt>
                <c:pt idx="3258">
                  <c:v>0</c:v>
                </c:pt>
                <c:pt idx="3259">
                  <c:v>0</c:v>
                </c:pt>
                <c:pt idx="3260">
                  <c:v>0</c:v>
                </c:pt>
                <c:pt idx="3261">
                  <c:v>0</c:v>
                </c:pt>
                <c:pt idx="3262">
                  <c:v>0</c:v>
                </c:pt>
                <c:pt idx="3263">
                  <c:v>0</c:v>
                </c:pt>
                <c:pt idx="3264">
                  <c:v>0</c:v>
                </c:pt>
                <c:pt idx="3265">
                  <c:v>0</c:v>
                </c:pt>
                <c:pt idx="3266">
                  <c:v>0</c:v>
                </c:pt>
                <c:pt idx="3267">
                  <c:v>0</c:v>
                </c:pt>
                <c:pt idx="3268">
                  <c:v>0</c:v>
                </c:pt>
                <c:pt idx="3269">
                  <c:v>0</c:v>
                </c:pt>
                <c:pt idx="3270">
                  <c:v>0</c:v>
                </c:pt>
                <c:pt idx="3271">
                  <c:v>0</c:v>
                </c:pt>
                <c:pt idx="3272">
                  <c:v>0</c:v>
                </c:pt>
                <c:pt idx="3273">
                  <c:v>0</c:v>
                </c:pt>
                <c:pt idx="3274">
                  <c:v>0</c:v>
                </c:pt>
                <c:pt idx="3275">
                  <c:v>0</c:v>
                </c:pt>
                <c:pt idx="3276">
                  <c:v>0</c:v>
                </c:pt>
                <c:pt idx="3277">
                  <c:v>0</c:v>
                </c:pt>
                <c:pt idx="3278">
                  <c:v>0</c:v>
                </c:pt>
                <c:pt idx="3279">
                  <c:v>0</c:v>
                </c:pt>
                <c:pt idx="3280">
                  <c:v>0</c:v>
                </c:pt>
                <c:pt idx="3281">
                  <c:v>0</c:v>
                </c:pt>
                <c:pt idx="3282">
                  <c:v>0</c:v>
                </c:pt>
                <c:pt idx="3283">
                  <c:v>0</c:v>
                </c:pt>
                <c:pt idx="3284">
                  <c:v>0</c:v>
                </c:pt>
                <c:pt idx="3285">
                  <c:v>0</c:v>
                </c:pt>
                <c:pt idx="3286">
                  <c:v>0</c:v>
                </c:pt>
                <c:pt idx="3287">
                  <c:v>0</c:v>
                </c:pt>
                <c:pt idx="3288">
                  <c:v>0</c:v>
                </c:pt>
                <c:pt idx="3289">
                  <c:v>0</c:v>
                </c:pt>
                <c:pt idx="3290">
                  <c:v>0</c:v>
                </c:pt>
                <c:pt idx="3291">
                  <c:v>0</c:v>
                </c:pt>
                <c:pt idx="3292">
                  <c:v>0</c:v>
                </c:pt>
                <c:pt idx="3293">
                  <c:v>0</c:v>
                </c:pt>
                <c:pt idx="3294">
                  <c:v>0</c:v>
                </c:pt>
                <c:pt idx="3295">
                  <c:v>0</c:v>
                </c:pt>
                <c:pt idx="3296">
                  <c:v>0</c:v>
                </c:pt>
                <c:pt idx="3297">
                  <c:v>0</c:v>
                </c:pt>
                <c:pt idx="3298">
                  <c:v>0</c:v>
                </c:pt>
                <c:pt idx="3299">
                  <c:v>0</c:v>
                </c:pt>
                <c:pt idx="3300">
                  <c:v>0</c:v>
                </c:pt>
                <c:pt idx="3301">
                  <c:v>0</c:v>
                </c:pt>
                <c:pt idx="3302">
                  <c:v>0</c:v>
                </c:pt>
                <c:pt idx="3303">
                  <c:v>0</c:v>
                </c:pt>
                <c:pt idx="3304">
                  <c:v>0</c:v>
                </c:pt>
                <c:pt idx="3305">
                  <c:v>0</c:v>
                </c:pt>
                <c:pt idx="3306">
                  <c:v>0</c:v>
                </c:pt>
                <c:pt idx="3307">
                  <c:v>0</c:v>
                </c:pt>
                <c:pt idx="3308">
                  <c:v>0</c:v>
                </c:pt>
                <c:pt idx="3309">
                  <c:v>0</c:v>
                </c:pt>
                <c:pt idx="3310">
                  <c:v>0</c:v>
                </c:pt>
                <c:pt idx="3311">
                  <c:v>0</c:v>
                </c:pt>
                <c:pt idx="3312">
                  <c:v>0</c:v>
                </c:pt>
                <c:pt idx="3313">
                  <c:v>0</c:v>
                </c:pt>
                <c:pt idx="3314">
                  <c:v>0</c:v>
                </c:pt>
                <c:pt idx="3315">
                  <c:v>0</c:v>
                </c:pt>
                <c:pt idx="3316">
                  <c:v>0</c:v>
                </c:pt>
                <c:pt idx="3317">
                  <c:v>0</c:v>
                </c:pt>
                <c:pt idx="3318">
                  <c:v>0</c:v>
                </c:pt>
                <c:pt idx="3319">
                  <c:v>0</c:v>
                </c:pt>
                <c:pt idx="3320">
                  <c:v>0</c:v>
                </c:pt>
                <c:pt idx="3321">
                  <c:v>0</c:v>
                </c:pt>
                <c:pt idx="3322">
                  <c:v>0</c:v>
                </c:pt>
                <c:pt idx="3323">
                  <c:v>0</c:v>
                </c:pt>
                <c:pt idx="3324">
                  <c:v>0</c:v>
                </c:pt>
                <c:pt idx="3325">
                  <c:v>0</c:v>
                </c:pt>
                <c:pt idx="3326">
                  <c:v>0</c:v>
                </c:pt>
                <c:pt idx="3327">
                  <c:v>0</c:v>
                </c:pt>
                <c:pt idx="3328">
                  <c:v>0</c:v>
                </c:pt>
                <c:pt idx="3329">
                  <c:v>0</c:v>
                </c:pt>
                <c:pt idx="3330">
                  <c:v>0</c:v>
                </c:pt>
                <c:pt idx="3331">
                  <c:v>0</c:v>
                </c:pt>
                <c:pt idx="3332">
                  <c:v>0</c:v>
                </c:pt>
                <c:pt idx="3333">
                  <c:v>0</c:v>
                </c:pt>
                <c:pt idx="3334">
                  <c:v>0</c:v>
                </c:pt>
                <c:pt idx="3335">
                  <c:v>0</c:v>
                </c:pt>
                <c:pt idx="3336">
                  <c:v>0</c:v>
                </c:pt>
                <c:pt idx="3337">
                  <c:v>0</c:v>
                </c:pt>
                <c:pt idx="3338">
                  <c:v>0</c:v>
                </c:pt>
                <c:pt idx="3339">
                  <c:v>0</c:v>
                </c:pt>
                <c:pt idx="3340">
                  <c:v>0</c:v>
                </c:pt>
                <c:pt idx="3341">
                  <c:v>0</c:v>
                </c:pt>
                <c:pt idx="3342">
                  <c:v>0</c:v>
                </c:pt>
                <c:pt idx="3343">
                  <c:v>0</c:v>
                </c:pt>
                <c:pt idx="3344">
                  <c:v>0</c:v>
                </c:pt>
                <c:pt idx="3345">
                  <c:v>0</c:v>
                </c:pt>
                <c:pt idx="3346">
                  <c:v>0</c:v>
                </c:pt>
                <c:pt idx="3347">
                  <c:v>0</c:v>
                </c:pt>
                <c:pt idx="3348">
                  <c:v>0</c:v>
                </c:pt>
                <c:pt idx="3349">
                  <c:v>0</c:v>
                </c:pt>
                <c:pt idx="3350">
                  <c:v>0</c:v>
                </c:pt>
                <c:pt idx="3351">
                  <c:v>0</c:v>
                </c:pt>
                <c:pt idx="3352">
                  <c:v>0</c:v>
                </c:pt>
                <c:pt idx="3353">
                  <c:v>0</c:v>
                </c:pt>
                <c:pt idx="3354">
                  <c:v>0</c:v>
                </c:pt>
                <c:pt idx="3355">
                  <c:v>0</c:v>
                </c:pt>
                <c:pt idx="3356">
                  <c:v>0</c:v>
                </c:pt>
                <c:pt idx="3357">
                  <c:v>0</c:v>
                </c:pt>
                <c:pt idx="3358">
                  <c:v>0</c:v>
                </c:pt>
                <c:pt idx="3359">
                  <c:v>0</c:v>
                </c:pt>
                <c:pt idx="3360">
                  <c:v>0</c:v>
                </c:pt>
                <c:pt idx="3361">
                  <c:v>0</c:v>
                </c:pt>
                <c:pt idx="3362">
                  <c:v>0</c:v>
                </c:pt>
                <c:pt idx="3363">
                  <c:v>0</c:v>
                </c:pt>
                <c:pt idx="3364">
                  <c:v>0</c:v>
                </c:pt>
                <c:pt idx="3365">
                  <c:v>0</c:v>
                </c:pt>
                <c:pt idx="3366">
                  <c:v>0</c:v>
                </c:pt>
                <c:pt idx="3367">
                  <c:v>0</c:v>
                </c:pt>
                <c:pt idx="3368">
                  <c:v>0</c:v>
                </c:pt>
                <c:pt idx="3369">
                  <c:v>0</c:v>
                </c:pt>
                <c:pt idx="3370">
                  <c:v>0</c:v>
                </c:pt>
                <c:pt idx="3371">
                  <c:v>0</c:v>
                </c:pt>
                <c:pt idx="3372">
                  <c:v>0</c:v>
                </c:pt>
                <c:pt idx="3373">
                  <c:v>0</c:v>
                </c:pt>
                <c:pt idx="3374">
                  <c:v>0</c:v>
                </c:pt>
                <c:pt idx="3375">
                  <c:v>0</c:v>
                </c:pt>
                <c:pt idx="3376">
                  <c:v>0</c:v>
                </c:pt>
                <c:pt idx="3377">
                  <c:v>0</c:v>
                </c:pt>
                <c:pt idx="3378">
                  <c:v>0</c:v>
                </c:pt>
                <c:pt idx="3379">
                  <c:v>0</c:v>
                </c:pt>
                <c:pt idx="3380">
                  <c:v>0</c:v>
                </c:pt>
                <c:pt idx="3381">
                  <c:v>0</c:v>
                </c:pt>
                <c:pt idx="3382">
                  <c:v>0</c:v>
                </c:pt>
                <c:pt idx="3383">
                  <c:v>0</c:v>
                </c:pt>
                <c:pt idx="3384">
                  <c:v>0</c:v>
                </c:pt>
                <c:pt idx="3385">
                  <c:v>0</c:v>
                </c:pt>
                <c:pt idx="3386">
                  <c:v>0</c:v>
                </c:pt>
                <c:pt idx="3387">
                  <c:v>0</c:v>
                </c:pt>
                <c:pt idx="3388">
                  <c:v>0</c:v>
                </c:pt>
                <c:pt idx="3389">
                  <c:v>0</c:v>
                </c:pt>
                <c:pt idx="3390">
                  <c:v>0</c:v>
                </c:pt>
                <c:pt idx="3391">
                  <c:v>0</c:v>
                </c:pt>
                <c:pt idx="3392">
                  <c:v>0</c:v>
                </c:pt>
                <c:pt idx="3393">
                  <c:v>0</c:v>
                </c:pt>
                <c:pt idx="3394">
                  <c:v>0</c:v>
                </c:pt>
                <c:pt idx="3395">
                  <c:v>0</c:v>
                </c:pt>
                <c:pt idx="3396">
                  <c:v>0</c:v>
                </c:pt>
                <c:pt idx="3397">
                  <c:v>0</c:v>
                </c:pt>
                <c:pt idx="3398">
                  <c:v>0</c:v>
                </c:pt>
                <c:pt idx="3399">
                  <c:v>0</c:v>
                </c:pt>
                <c:pt idx="3400">
                  <c:v>0</c:v>
                </c:pt>
                <c:pt idx="3401">
                  <c:v>0</c:v>
                </c:pt>
                <c:pt idx="3402">
                  <c:v>0</c:v>
                </c:pt>
                <c:pt idx="3403">
                  <c:v>0</c:v>
                </c:pt>
                <c:pt idx="3404">
                  <c:v>0</c:v>
                </c:pt>
                <c:pt idx="3405">
                  <c:v>0</c:v>
                </c:pt>
                <c:pt idx="3406">
                  <c:v>0</c:v>
                </c:pt>
                <c:pt idx="3407">
                  <c:v>0</c:v>
                </c:pt>
                <c:pt idx="3408">
                  <c:v>0</c:v>
                </c:pt>
                <c:pt idx="3409">
                  <c:v>0</c:v>
                </c:pt>
                <c:pt idx="3410">
                  <c:v>0</c:v>
                </c:pt>
                <c:pt idx="3411">
                  <c:v>0</c:v>
                </c:pt>
                <c:pt idx="3412">
                  <c:v>0</c:v>
                </c:pt>
                <c:pt idx="3413">
                  <c:v>0</c:v>
                </c:pt>
                <c:pt idx="3414">
                  <c:v>0</c:v>
                </c:pt>
                <c:pt idx="3415">
                  <c:v>0</c:v>
                </c:pt>
                <c:pt idx="3416">
                  <c:v>0</c:v>
                </c:pt>
                <c:pt idx="3417">
                  <c:v>0</c:v>
                </c:pt>
                <c:pt idx="3418">
                  <c:v>0</c:v>
                </c:pt>
                <c:pt idx="3419">
                  <c:v>0</c:v>
                </c:pt>
                <c:pt idx="3420">
                  <c:v>0</c:v>
                </c:pt>
                <c:pt idx="3421">
                  <c:v>0</c:v>
                </c:pt>
                <c:pt idx="3422">
                  <c:v>0</c:v>
                </c:pt>
                <c:pt idx="3423">
                  <c:v>0</c:v>
                </c:pt>
                <c:pt idx="3424">
                  <c:v>0</c:v>
                </c:pt>
                <c:pt idx="3425">
                  <c:v>0</c:v>
                </c:pt>
                <c:pt idx="3426">
                  <c:v>0</c:v>
                </c:pt>
                <c:pt idx="3427">
                  <c:v>0</c:v>
                </c:pt>
                <c:pt idx="3428">
                  <c:v>0</c:v>
                </c:pt>
                <c:pt idx="3429">
                  <c:v>0</c:v>
                </c:pt>
                <c:pt idx="3430">
                  <c:v>0</c:v>
                </c:pt>
                <c:pt idx="3431">
                  <c:v>0</c:v>
                </c:pt>
                <c:pt idx="3432">
                  <c:v>0</c:v>
                </c:pt>
                <c:pt idx="3433">
                  <c:v>0</c:v>
                </c:pt>
                <c:pt idx="3434">
                  <c:v>0</c:v>
                </c:pt>
                <c:pt idx="3435">
                  <c:v>0</c:v>
                </c:pt>
                <c:pt idx="3436">
                  <c:v>0</c:v>
                </c:pt>
                <c:pt idx="3437">
                  <c:v>0</c:v>
                </c:pt>
                <c:pt idx="3438">
                  <c:v>0</c:v>
                </c:pt>
                <c:pt idx="3439">
                  <c:v>0</c:v>
                </c:pt>
                <c:pt idx="3440">
                  <c:v>0</c:v>
                </c:pt>
                <c:pt idx="3441">
                  <c:v>0</c:v>
                </c:pt>
                <c:pt idx="3442">
                  <c:v>0</c:v>
                </c:pt>
                <c:pt idx="3443">
                  <c:v>0</c:v>
                </c:pt>
                <c:pt idx="3444">
                  <c:v>0</c:v>
                </c:pt>
                <c:pt idx="3445">
                  <c:v>0</c:v>
                </c:pt>
                <c:pt idx="3446">
                  <c:v>0</c:v>
                </c:pt>
                <c:pt idx="3447">
                  <c:v>0</c:v>
                </c:pt>
                <c:pt idx="3448">
                  <c:v>0</c:v>
                </c:pt>
                <c:pt idx="3449">
                  <c:v>0</c:v>
                </c:pt>
                <c:pt idx="3450">
                  <c:v>0</c:v>
                </c:pt>
                <c:pt idx="3451">
                  <c:v>0</c:v>
                </c:pt>
                <c:pt idx="3452">
                  <c:v>0</c:v>
                </c:pt>
                <c:pt idx="3453">
                  <c:v>0</c:v>
                </c:pt>
                <c:pt idx="3454">
                  <c:v>0</c:v>
                </c:pt>
                <c:pt idx="3455">
                  <c:v>0</c:v>
                </c:pt>
                <c:pt idx="3456">
                  <c:v>0</c:v>
                </c:pt>
                <c:pt idx="3457">
                  <c:v>0</c:v>
                </c:pt>
                <c:pt idx="3458">
                  <c:v>0</c:v>
                </c:pt>
                <c:pt idx="3459">
                  <c:v>0</c:v>
                </c:pt>
                <c:pt idx="3460">
                  <c:v>0</c:v>
                </c:pt>
                <c:pt idx="3461">
                  <c:v>0</c:v>
                </c:pt>
                <c:pt idx="3462">
                  <c:v>0</c:v>
                </c:pt>
                <c:pt idx="3463">
                  <c:v>0</c:v>
                </c:pt>
                <c:pt idx="3464">
                  <c:v>0</c:v>
                </c:pt>
                <c:pt idx="3465">
                  <c:v>0</c:v>
                </c:pt>
                <c:pt idx="3466">
                  <c:v>0</c:v>
                </c:pt>
                <c:pt idx="3467">
                  <c:v>0</c:v>
                </c:pt>
                <c:pt idx="3468">
                  <c:v>0</c:v>
                </c:pt>
                <c:pt idx="3469">
                  <c:v>0</c:v>
                </c:pt>
                <c:pt idx="3470">
                  <c:v>0</c:v>
                </c:pt>
                <c:pt idx="3471">
                  <c:v>0</c:v>
                </c:pt>
                <c:pt idx="3472">
                  <c:v>0</c:v>
                </c:pt>
                <c:pt idx="3473">
                  <c:v>0</c:v>
                </c:pt>
                <c:pt idx="3474">
                  <c:v>0</c:v>
                </c:pt>
                <c:pt idx="3475">
                  <c:v>0</c:v>
                </c:pt>
                <c:pt idx="3476">
                  <c:v>0</c:v>
                </c:pt>
                <c:pt idx="3477">
                  <c:v>0</c:v>
                </c:pt>
                <c:pt idx="3478">
                  <c:v>0</c:v>
                </c:pt>
                <c:pt idx="3479">
                  <c:v>0</c:v>
                </c:pt>
                <c:pt idx="3480">
                  <c:v>0</c:v>
                </c:pt>
                <c:pt idx="3481">
                  <c:v>0</c:v>
                </c:pt>
                <c:pt idx="3482">
                  <c:v>0</c:v>
                </c:pt>
                <c:pt idx="3483">
                  <c:v>0</c:v>
                </c:pt>
                <c:pt idx="3484">
                  <c:v>0</c:v>
                </c:pt>
                <c:pt idx="3485">
                  <c:v>0</c:v>
                </c:pt>
                <c:pt idx="3486">
                  <c:v>0</c:v>
                </c:pt>
                <c:pt idx="3487">
                  <c:v>0</c:v>
                </c:pt>
                <c:pt idx="3488">
                  <c:v>0</c:v>
                </c:pt>
                <c:pt idx="3489">
                  <c:v>0</c:v>
                </c:pt>
                <c:pt idx="3490">
                  <c:v>0</c:v>
                </c:pt>
                <c:pt idx="3491">
                  <c:v>0</c:v>
                </c:pt>
                <c:pt idx="3492">
                  <c:v>0</c:v>
                </c:pt>
                <c:pt idx="3493">
                  <c:v>0</c:v>
                </c:pt>
                <c:pt idx="3494">
                  <c:v>0</c:v>
                </c:pt>
                <c:pt idx="3495">
                  <c:v>0</c:v>
                </c:pt>
                <c:pt idx="3496">
                  <c:v>0</c:v>
                </c:pt>
                <c:pt idx="3497">
                  <c:v>0</c:v>
                </c:pt>
                <c:pt idx="3498">
                  <c:v>0</c:v>
                </c:pt>
                <c:pt idx="3499">
                  <c:v>0</c:v>
                </c:pt>
                <c:pt idx="3500">
                  <c:v>0</c:v>
                </c:pt>
                <c:pt idx="3501">
                  <c:v>0</c:v>
                </c:pt>
                <c:pt idx="3502">
                  <c:v>0</c:v>
                </c:pt>
                <c:pt idx="3503">
                  <c:v>0</c:v>
                </c:pt>
                <c:pt idx="3504">
                  <c:v>0</c:v>
                </c:pt>
                <c:pt idx="3505">
                  <c:v>0</c:v>
                </c:pt>
                <c:pt idx="3506">
                  <c:v>0</c:v>
                </c:pt>
                <c:pt idx="3507">
                  <c:v>0</c:v>
                </c:pt>
                <c:pt idx="3508">
                  <c:v>0</c:v>
                </c:pt>
                <c:pt idx="3509">
                  <c:v>0</c:v>
                </c:pt>
                <c:pt idx="3510">
                  <c:v>0</c:v>
                </c:pt>
                <c:pt idx="3511">
                  <c:v>0</c:v>
                </c:pt>
                <c:pt idx="3512">
                  <c:v>0</c:v>
                </c:pt>
                <c:pt idx="3513">
                  <c:v>0</c:v>
                </c:pt>
                <c:pt idx="3514">
                  <c:v>0</c:v>
                </c:pt>
                <c:pt idx="3515">
                  <c:v>0</c:v>
                </c:pt>
                <c:pt idx="3516">
                  <c:v>0</c:v>
                </c:pt>
                <c:pt idx="3517">
                  <c:v>0</c:v>
                </c:pt>
                <c:pt idx="3518">
                  <c:v>0</c:v>
                </c:pt>
                <c:pt idx="3519">
                  <c:v>0</c:v>
                </c:pt>
                <c:pt idx="3520">
                  <c:v>0</c:v>
                </c:pt>
                <c:pt idx="3521">
                  <c:v>0</c:v>
                </c:pt>
                <c:pt idx="3522">
                  <c:v>0</c:v>
                </c:pt>
                <c:pt idx="3523">
                  <c:v>0</c:v>
                </c:pt>
                <c:pt idx="3524">
                  <c:v>0</c:v>
                </c:pt>
                <c:pt idx="3525">
                  <c:v>0</c:v>
                </c:pt>
                <c:pt idx="3526">
                  <c:v>0</c:v>
                </c:pt>
                <c:pt idx="3527">
                  <c:v>0</c:v>
                </c:pt>
                <c:pt idx="3528">
                  <c:v>0</c:v>
                </c:pt>
                <c:pt idx="3529">
                  <c:v>0</c:v>
                </c:pt>
                <c:pt idx="3530">
                  <c:v>0</c:v>
                </c:pt>
                <c:pt idx="3531">
                  <c:v>0</c:v>
                </c:pt>
                <c:pt idx="3532">
                  <c:v>0</c:v>
                </c:pt>
                <c:pt idx="3533">
                  <c:v>0</c:v>
                </c:pt>
                <c:pt idx="3534">
                  <c:v>0</c:v>
                </c:pt>
                <c:pt idx="3535">
                  <c:v>0</c:v>
                </c:pt>
                <c:pt idx="3536">
                  <c:v>0</c:v>
                </c:pt>
                <c:pt idx="3537">
                  <c:v>0</c:v>
                </c:pt>
                <c:pt idx="3538">
                  <c:v>0</c:v>
                </c:pt>
                <c:pt idx="3539">
                  <c:v>0</c:v>
                </c:pt>
                <c:pt idx="3540">
                  <c:v>0</c:v>
                </c:pt>
                <c:pt idx="3541">
                  <c:v>0</c:v>
                </c:pt>
                <c:pt idx="3542">
                  <c:v>0</c:v>
                </c:pt>
                <c:pt idx="3543">
                  <c:v>0</c:v>
                </c:pt>
                <c:pt idx="3544">
                  <c:v>0</c:v>
                </c:pt>
                <c:pt idx="3545">
                  <c:v>0</c:v>
                </c:pt>
                <c:pt idx="3546">
                  <c:v>0</c:v>
                </c:pt>
                <c:pt idx="3547">
                  <c:v>0</c:v>
                </c:pt>
                <c:pt idx="3548">
                  <c:v>0</c:v>
                </c:pt>
                <c:pt idx="3549">
                  <c:v>0</c:v>
                </c:pt>
                <c:pt idx="3550">
                  <c:v>0</c:v>
                </c:pt>
                <c:pt idx="3551">
                  <c:v>0</c:v>
                </c:pt>
                <c:pt idx="3552">
                  <c:v>0</c:v>
                </c:pt>
                <c:pt idx="3553">
                  <c:v>0</c:v>
                </c:pt>
                <c:pt idx="3554">
                  <c:v>0</c:v>
                </c:pt>
                <c:pt idx="3555">
                  <c:v>0</c:v>
                </c:pt>
                <c:pt idx="3556">
                  <c:v>0</c:v>
                </c:pt>
                <c:pt idx="3557">
                  <c:v>0</c:v>
                </c:pt>
                <c:pt idx="3558">
                  <c:v>0</c:v>
                </c:pt>
                <c:pt idx="3559">
                  <c:v>0</c:v>
                </c:pt>
                <c:pt idx="3560">
                  <c:v>0</c:v>
                </c:pt>
                <c:pt idx="3561">
                  <c:v>0</c:v>
                </c:pt>
                <c:pt idx="3562">
                  <c:v>0</c:v>
                </c:pt>
                <c:pt idx="3563">
                  <c:v>0</c:v>
                </c:pt>
                <c:pt idx="3564">
                  <c:v>0</c:v>
                </c:pt>
                <c:pt idx="3565">
                  <c:v>0</c:v>
                </c:pt>
                <c:pt idx="3566">
                  <c:v>0</c:v>
                </c:pt>
                <c:pt idx="3567">
                  <c:v>0</c:v>
                </c:pt>
                <c:pt idx="3568">
                  <c:v>0</c:v>
                </c:pt>
                <c:pt idx="3569">
                  <c:v>0</c:v>
                </c:pt>
                <c:pt idx="3570">
                  <c:v>0</c:v>
                </c:pt>
                <c:pt idx="3571">
                  <c:v>0</c:v>
                </c:pt>
                <c:pt idx="3572">
                  <c:v>0</c:v>
                </c:pt>
                <c:pt idx="3573">
                  <c:v>0</c:v>
                </c:pt>
                <c:pt idx="3574">
                  <c:v>0</c:v>
                </c:pt>
                <c:pt idx="3575">
                  <c:v>0</c:v>
                </c:pt>
                <c:pt idx="3576">
                  <c:v>0</c:v>
                </c:pt>
                <c:pt idx="3577">
                  <c:v>0</c:v>
                </c:pt>
                <c:pt idx="3578">
                  <c:v>0</c:v>
                </c:pt>
                <c:pt idx="3579">
                  <c:v>0</c:v>
                </c:pt>
                <c:pt idx="3580">
                  <c:v>0</c:v>
                </c:pt>
                <c:pt idx="3581">
                  <c:v>0</c:v>
                </c:pt>
                <c:pt idx="3582">
                  <c:v>0</c:v>
                </c:pt>
                <c:pt idx="3583">
                  <c:v>0</c:v>
                </c:pt>
                <c:pt idx="3584">
                  <c:v>0</c:v>
                </c:pt>
                <c:pt idx="3585">
                  <c:v>0</c:v>
                </c:pt>
                <c:pt idx="3586">
                  <c:v>0</c:v>
                </c:pt>
                <c:pt idx="3587">
                  <c:v>0</c:v>
                </c:pt>
                <c:pt idx="3588">
                  <c:v>0</c:v>
                </c:pt>
                <c:pt idx="3589">
                  <c:v>0</c:v>
                </c:pt>
                <c:pt idx="3590">
                  <c:v>0</c:v>
                </c:pt>
                <c:pt idx="3591">
                  <c:v>0</c:v>
                </c:pt>
                <c:pt idx="3592">
                  <c:v>0</c:v>
                </c:pt>
                <c:pt idx="3593">
                  <c:v>0</c:v>
                </c:pt>
                <c:pt idx="3594">
                  <c:v>0</c:v>
                </c:pt>
                <c:pt idx="3595">
                  <c:v>0</c:v>
                </c:pt>
                <c:pt idx="3596">
                  <c:v>0</c:v>
                </c:pt>
                <c:pt idx="3597">
                  <c:v>0</c:v>
                </c:pt>
                <c:pt idx="3598">
                  <c:v>0</c:v>
                </c:pt>
                <c:pt idx="3599">
                  <c:v>0</c:v>
                </c:pt>
                <c:pt idx="3600">
                  <c:v>0</c:v>
                </c:pt>
                <c:pt idx="3601">
                  <c:v>0</c:v>
                </c:pt>
                <c:pt idx="3602">
                  <c:v>0</c:v>
                </c:pt>
                <c:pt idx="3603">
                  <c:v>0</c:v>
                </c:pt>
                <c:pt idx="3604">
                  <c:v>0</c:v>
                </c:pt>
                <c:pt idx="3605">
                  <c:v>0</c:v>
                </c:pt>
                <c:pt idx="3606">
                  <c:v>0</c:v>
                </c:pt>
                <c:pt idx="3607">
                  <c:v>0</c:v>
                </c:pt>
                <c:pt idx="3608">
                  <c:v>0</c:v>
                </c:pt>
                <c:pt idx="3609">
                  <c:v>0</c:v>
                </c:pt>
                <c:pt idx="3610">
                  <c:v>0</c:v>
                </c:pt>
                <c:pt idx="3611">
                  <c:v>0</c:v>
                </c:pt>
                <c:pt idx="3612">
                  <c:v>0</c:v>
                </c:pt>
                <c:pt idx="3613">
                  <c:v>0</c:v>
                </c:pt>
                <c:pt idx="3614">
                  <c:v>0</c:v>
                </c:pt>
                <c:pt idx="3615">
                  <c:v>0</c:v>
                </c:pt>
                <c:pt idx="3616">
                  <c:v>0</c:v>
                </c:pt>
                <c:pt idx="3617">
                  <c:v>0</c:v>
                </c:pt>
                <c:pt idx="3618">
                  <c:v>0</c:v>
                </c:pt>
                <c:pt idx="3619">
                  <c:v>0</c:v>
                </c:pt>
                <c:pt idx="3620">
                  <c:v>0</c:v>
                </c:pt>
                <c:pt idx="3621">
                  <c:v>0</c:v>
                </c:pt>
                <c:pt idx="3622">
                  <c:v>0</c:v>
                </c:pt>
                <c:pt idx="3623">
                  <c:v>0</c:v>
                </c:pt>
                <c:pt idx="3624">
                  <c:v>0</c:v>
                </c:pt>
                <c:pt idx="3625">
                  <c:v>0</c:v>
                </c:pt>
                <c:pt idx="3626">
                  <c:v>0</c:v>
                </c:pt>
                <c:pt idx="3627">
                  <c:v>0</c:v>
                </c:pt>
                <c:pt idx="3628">
                  <c:v>0</c:v>
                </c:pt>
                <c:pt idx="3629">
                  <c:v>0</c:v>
                </c:pt>
                <c:pt idx="3630">
                  <c:v>0</c:v>
                </c:pt>
                <c:pt idx="3631">
                  <c:v>0</c:v>
                </c:pt>
                <c:pt idx="3632">
                  <c:v>0</c:v>
                </c:pt>
                <c:pt idx="3633">
                  <c:v>0</c:v>
                </c:pt>
                <c:pt idx="3634">
                  <c:v>0</c:v>
                </c:pt>
                <c:pt idx="3635">
                  <c:v>0</c:v>
                </c:pt>
                <c:pt idx="3636">
                  <c:v>0</c:v>
                </c:pt>
                <c:pt idx="3637">
                  <c:v>0</c:v>
                </c:pt>
                <c:pt idx="3638">
                  <c:v>0</c:v>
                </c:pt>
                <c:pt idx="3639">
                  <c:v>0</c:v>
                </c:pt>
                <c:pt idx="3640">
                  <c:v>0</c:v>
                </c:pt>
                <c:pt idx="3641">
                  <c:v>0</c:v>
                </c:pt>
                <c:pt idx="3642">
                  <c:v>0</c:v>
                </c:pt>
                <c:pt idx="3643">
                  <c:v>0</c:v>
                </c:pt>
                <c:pt idx="3644">
                  <c:v>0</c:v>
                </c:pt>
                <c:pt idx="3645">
                  <c:v>0</c:v>
                </c:pt>
                <c:pt idx="3646">
                  <c:v>0</c:v>
                </c:pt>
                <c:pt idx="3647">
                  <c:v>0</c:v>
                </c:pt>
                <c:pt idx="3648">
                  <c:v>0</c:v>
                </c:pt>
                <c:pt idx="3649">
                  <c:v>0</c:v>
                </c:pt>
                <c:pt idx="3650">
                  <c:v>0</c:v>
                </c:pt>
                <c:pt idx="3651">
                  <c:v>0</c:v>
                </c:pt>
                <c:pt idx="3652">
                  <c:v>0</c:v>
                </c:pt>
                <c:pt idx="3653">
                  <c:v>0</c:v>
                </c:pt>
                <c:pt idx="3654">
                  <c:v>0</c:v>
                </c:pt>
                <c:pt idx="3655">
                  <c:v>0</c:v>
                </c:pt>
                <c:pt idx="3656">
                  <c:v>0</c:v>
                </c:pt>
                <c:pt idx="3657">
                  <c:v>0</c:v>
                </c:pt>
                <c:pt idx="3658">
                  <c:v>0</c:v>
                </c:pt>
                <c:pt idx="3659">
                  <c:v>0</c:v>
                </c:pt>
                <c:pt idx="3660">
                  <c:v>0</c:v>
                </c:pt>
                <c:pt idx="3661">
                  <c:v>0</c:v>
                </c:pt>
                <c:pt idx="3662">
                  <c:v>0</c:v>
                </c:pt>
                <c:pt idx="3663">
                  <c:v>0</c:v>
                </c:pt>
                <c:pt idx="3664">
                  <c:v>0</c:v>
                </c:pt>
                <c:pt idx="3665">
                  <c:v>0</c:v>
                </c:pt>
                <c:pt idx="3666">
                  <c:v>0</c:v>
                </c:pt>
                <c:pt idx="3667">
                  <c:v>0</c:v>
                </c:pt>
                <c:pt idx="3668">
                  <c:v>0</c:v>
                </c:pt>
                <c:pt idx="3669">
                  <c:v>0</c:v>
                </c:pt>
                <c:pt idx="3670">
                  <c:v>0</c:v>
                </c:pt>
                <c:pt idx="3671">
                  <c:v>0</c:v>
                </c:pt>
                <c:pt idx="3672">
                  <c:v>0</c:v>
                </c:pt>
                <c:pt idx="3673">
                  <c:v>0</c:v>
                </c:pt>
                <c:pt idx="3674">
                  <c:v>0</c:v>
                </c:pt>
                <c:pt idx="3675">
                  <c:v>0</c:v>
                </c:pt>
                <c:pt idx="3676">
                  <c:v>0</c:v>
                </c:pt>
                <c:pt idx="3677">
                  <c:v>0</c:v>
                </c:pt>
                <c:pt idx="3678">
                  <c:v>0</c:v>
                </c:pt>
                <c:pt idx="3679">
                  <c:v>0</c:v>
                </c:pt>
                <c:pt idx="3680">
                  <c:v>0</c:v>
                </c:pt>
                <c:pt idx="3681">
                  <c:v>0</c:v>
                </c:pt>
                <c:pt idx="3682">
                  <c:v>0</c:v>
                </c:pt>
                <c:pt idx="3683">
                  <c:v>0</c:v>
                </c:pt>
                <c:pt idx="3684">
                  <c:v>0</c:v>
                </c:pt>
                <c:pt idx="3685">
                  <c:v>0</c:v>
                </c:pt>
                <c:pt idx="3686">
                  <c:v>0</c:v>
                </c:pt>
                <c:pt idx="3687">
                  <c:v>0</c:v>
                </c:pt>
                <c:pt idx="3688">
                  <c:v>0</c:v>
                </c:pt>
                <c:pt idx="3689">
                  <c:v>0</c:v>
                </c:pt>
                <c:pt idx="3690">
                  <c:v>0</c:v>
                </c:pt>
                <c:pt idx="3691">
                  <c:v>0</c:v>
                </c:pt>
                <c:pt idx="3692">
                  <c:v>0</c:v>
                </c:pt>
                <c:pt idx="3693">
                  <c:v>0</c:v>
                </c:pt>
                <c:pt idx="3694">
                  <c:v>0</c:v>
                </c:pt>
                <c:pt idx="3695">
                  <c:v>0</c:v>
                </c:pt>
                <c:pt idx="3696">
                  <c:v>0</c:v>
                </c:pt>
                <c:pt idx="3697">
                  <c:v>0</c:v>
                </c:pt>
                <c:pt idx="3698">
                  <c:v>0</c:v>
                </c:pt>
                <c:pt idx="3699">
                  <c:v>0</c:v>
                </c:pt>
                <c:pt idx="3700">
                  <c:v>0</c:v>
                </c:pt>
                <c:pt idx="3701">
                  <c:v>0</c:v>
                </c:pt>
                <c:pt idx="3702">
                  <c:v>0</c:v>
                </c:pt>
                <c:pt idx="3703">
                  <c:v>0</c:v>
                </c:pt>
                <c:pt idx="3704">
                  <c:v>0</c:v>
                </c:pt>
                <c:pt idx="3705">
                  <c:v>0</c:v>
                </c:pt>
                <c:pt idx="3706">
                  <c:v>0</c:v>
                </c:pt>
                <c:pt idx="3707">
                  <c:v>0</c:v>
                </c:pt>
                <c:pt idx="3708">
                  <c:v>0</c:v>
                </c:pt>
                <c:pt idx="3709">
                  <c:v>0</c:v>
                </c:pt>
                <c:pt idx="3710">
                  <c:v>0</c:v>
                </c:pt>
                <c:pt idx="3711">
                  <c:v>0</c:v>
                </c:pt>
                <c:pt idx="3712">
                  <c:v>0</c:v>
                </c:pt>
                <c:pt idx="3713">
                  <c:v>0</c:v>
                </c:pt>
                <c:pt idx="3714">
                  <c:v>0</c:v>
                </c:pt>
                <c:pt idx="3715">
                  <c:v>0</c:v>
                </c:pt>
                <c:pt idx="3716">
                  <c:v>0</c:v>
                </c:pt>
                <c:pt idx="3717">
                  <c:v>0</c:v>
                </c:pt>
                <c:pt idx="3718">
                  <c:v>0</c:v>
                </c:pt>
                <c:pt idx="3719">
                  <c:v>0</c:v>
                </c:pt>
                <c:pt idx="3720">
                  <c:v>0</c:v>
                </c:pt>
                <c:pt idx="3721">
                  <c:v>0</c:v>
                </c:pt>
                <c:pt idx="3722">
                  <c:v>0</c:v>
                </c:pt>
                <c:pt idx="3723">
                  <c:v>0</c:v>
                </c:pt>
                <c:pt idx="3724">
                  <c:v>0</c:v>
                </c:pt>
                <c:pt idx="3725">
                  <c:v>0</c:v>
                </c:pt>
                <c:pt idx="3726">
                  <c:v>0</c:v>
                </c:pt>
                <c:pt idx="3727">
                  <c:v>0</c:v>
                </c:pt>
                <c:pt idx="3728">
                  <c:v>0</c:v>
                </c:pt>
                <c:pt idx="3729">
                  <c:v>0</c:v>
                </c:pt>
                <c:pt idx="3730">
                  <c:v>0</c:v>
                </c:pt>
                <c:pt idx="3731">
                  <c:v>0</c:v>
                </c:pt>
                <c:pt idx="3732">
                  <c:v>0</c:v>
                </c:pt>
                <c:pt idx="3733">
                  <c:v>0</c:v>
                </c:pt>
                <c:pt idx="3734">
                  <c:v>0</c:v>
                </c:pt>
                <c:pt idx="3735">
                  <c:v>0</c:v>
                </c:pt>
                <c:pt idx="3736">
                  <c:v>0</c:v>
                </c:pt>
                <c:pt idx="3737">
                  <c:v>0</c:v>
                </c:pt>
                <c:pt idx="3738">
                  <c:v>0</c:v>
                </c:pt>
                <c:pt idx="3739">
                  <c:v>0</c:v>
                </c:pt>
                <c:pt idx="3740">
                  <c:v>0</c:v>
                </c:pt>
                <c:pt idx="3741">
                  <c:v>0</c:v>
                </c:pt>
                <c:pt idx="3742">
                  <c:v>0</c:v>
                </c:pt>
                <c:pt idx="3743">
                  <c:v>0</c:v>
                </c:pt>
                <c:pt idx="3744">
                  <c:v>0</c:v>
                </c:pt>
                <c:pt idx="3745">
                  <c:v>0</c:v>
                </c:pt>
                <c:pt idx="3746">
                  <c:v>0</c:v>
                </c:pt>
                <c:pt idx="3747">
                  <c:v>0</c:v>
                </c:pt>
                <c:pt idx="3748">
                  <c:v>0</c:v>
                </c:pt>
                <c:pt idx="3749">
                  <c:v>0</c:v>
                </c:pt>
                <c:pt idx="3750">
                  <c:v>0</c:v>
                </c:pt>
                <c:pt idx="3751">
                  <c:v>0</c:v>
                </c:pt>
                <c:pt idx="3752">
                  <c:v>0</c:v>
                </c:pt>
                <c:pt idx="3753">
                  <c:v>0</c:v>
                </c:pt>
                <c:pt idx="3754">
                  <c:v>0</c:v>
                </c:pt>
                <c:pt idx="3755">
                  <c:v>0</c:v>
                </c:pt>
                <c:pt idx="3756">
                  <c:v>0</c:v>
                </c:pt>
                <c:pt idx="3757">
                  <c:v>0</c:v>
                </c:pt>
                <c:pt idx="3758">
                  <c:v>0</c:v>
                </c:pt>
                <c:pt idx="3759">
                  <c:v>0</c:v>
                </c:pt>
                <c:pt idx="3760">
                  <c:v>0</c:v>
                </c:pt>
                <c:pt idx="3761">
                  <c:v>0</c:v>
                </c:pt>
                <c:pt idx="3762">
                  <c:v>0</c:v>
                </c:pt>
                <c:pt idx="3763">
                  <c:v>0</c:v>
                </c:pt>
                <c:pt idx="3764">
                  <c:v>0</c:v>
                </c:pt>
                <c:pt idx="3765">
                  <c:v>0</c:v>
                </c:pt>
                <c:pt idx="3766">
                  <c:v>0</c:v>
                </c:pt>
                <c:pt idx="3767">
                  <c:v>0</c:v>
                </c:pt>
                <c:pt idx="3768">
                  <c:v>0</c:v>
                </c:pt>
                <c:pt idx="3769">
                  <c:v>0</c:v>
                </c:pt>
                <c:pt idx="3770">
                  <c:v>0</c:v>
                </c:pt>
                <c:pt idx="3771">
                  <c:v>0</c:v>
                </c:pt>
                <c:pt idx="3772">
                  <c:v>0</c:v>
                </c:pt>
                <c:pt idx="3773">
                  <c:v>0</c:v>
                </c:pt>
                <c:pt idx="3774">
                  <c:v>0</c:v>
                </c:pt>
                <c:pt idx="3775">
                  <c:v>0</c:v>
                </c:pt>
                <c:pt idx="3776">
                  <c:v>0</c:v>
                </c:pt>
                <c:pt idx="3777">
                  <c:v>0</c:v>
                </c:pt>
                <c:pt idx="3778">
                  <c:v>0</c:v>
                </c:pt>
                <c:pt idx="3779">
                  <c:v>0</c:v>
                </c:pt>
                <c:pt idx="3780">
                  <c:v>0</c:v>
                </c:pt>
                <c:pt idx="3781">
                  <c:v>0</c:v>
                </c:pt>
                <c:pt idx="3782">
                  <c:v>0</c:v>
                </c:pt>
                <c:pt idx="3783">
                  <c:v>0</c:v>
                </c:pt>
                <c:pt idx="3784">
                  <c:v>0</c:v>
                </c:pt>
                <c:pt idx="3785">
                  <c:v>0</c:v>
                </c:pt>
                <c:pt idx="3786">
                  <c:v>0</c:v>
                </c:pt>
                <c:pt idx="3787">
                  <c:v>0</c:v>
                </c:pt>
                <c:pt idx="3788">
                  <c:v>0</c:v>
                </c:pt>
                <c:pt idx="3789">
                  <c:v>0</c:v>
                </c:pt>
                <c:pt idx="3790">
                  <c:v>0</c:v>
                </c:pt>
                <c:pt idx="3791">
                  <c:v>0</c:v>
                </c:pt>
                <c:pt idx="3792">
                  <c:v>0</c:v>
                </c:pt>
                <c:pt idx="3793">
                  <c:v>0</c:v>
                </c:pt>
                <c:pt idx="3794">
                  <c:v>0</c:v>
                </c:pt>
                <c:pt idx="3795">
                  <c:v>0</c:v>
                </c:pt>
                <c:pt idx="3796">
                  <c:v>0</c:v>
                </c:pt>
                <c:pt idx="3797">
                  <c:v>0</c:v>
                </c:pt>
                <c:pt idx="3798">
                  <c:v>0</c:v>
                </c:pt>
                <c:pt idx="3799">
                  <c:v>0</c:v>
                </c:pt>
                <c:pt idx="3800">
                  <c:v>0</c:v>
                </c:pt>
                <c:pt idx="3801">
                  <c:v>0</c:v>
                </c:pt>
                <c:pt idx="3802">
                  <c:v>0</c:v>
                </c:pt>
                <c:pt idx="3803">
                  <c:v>0</c:v>
                </c:pt>
                <c:pt idx="3804">
                  <c:v>0</c:v>
                </c:pt>
                <c:pt idx="3805">
                  <c:v>0</c:v>
                </c:pt>
                <c:pt idx="3806">
                  <c:v>0</c:v>
                </c:pt>
                <c:pt idx="3807">
                  <c:v>0</c:v>
                </c:pt>
                <c:pt idx="3808">
                  <c:v>0</c:v>
                </c:pt>
                <c:pt idx="3809">
                  <c:v>0</c:v>
                </c:pt>
                <c:pt idx="3810">
                  <c:v>0</c:v>
                </c:pt>
                <c:pt idx="3811">
                  <c:v>0</c:v>
                </c:pt>
                <c:pt idx="3812">
                  <c:v>0</c:v>
                </c:pt>
                <c:pt idx="3813">
                  <c:v>0</c:v>
                </c:pt>
                <c:pt idx="3814">
                  <c:v>0</c:v>
                </c:pt>
                <c:pt idx="3815">
                  <c:v>0</c:v>
                </c:pt>
                <c:pt idx="3816">
                  <c:v>0</c:v>
                </c:pt>
                <c:pt idx="3817">
                  <c:v>0</c:v>
                </c:pt>
                <c:pt idx="3818">
                  <c:v>0</c:v>
                </c:pt>
                <c:pt idx="3819">
                  <c:v>0</c:v>
                </c:pt>
                <c:pt idx="3820">
                  <c:v>0</c:v>
                </c:pt>
                <c:pt idx="3821">
                  <c:v>0</c:v>
                </c:pt>
                <c:pt idx="3822">
                  <c:v>0</c:v>
                </c:pt>
                <c:pt idx="3823">
                  <c:v>0</c:v>
                </c:pt>
                <c:pt idx="3824">
                  <c:v>0</c:v>
                </c:pt>
                <c:pt idx="3825">
                  <c:v>0</c:v>
                </c:pt>
                <c:pt idx="3826">
                  <c:v>0</c:v>
                </c:pt>
                <c:pt idx="3827">
                  <c:v>0</c:v>
                </c:pt>
                <c:pt idx="3828">
                  <c:v>0</c:v>
                </c:pt>
                <c:pt idx="3829">
                  <c:v>0</c:v>
                </c:pt>
                <c:pt idx="3830">
                  <c:v>0</c:v>
                </c:pt>
                <c:pt idx="3831">
                  <c:v>0</c:v>
                </c:pt>
                <c:pt idx="3832">
                  <c:v>0</c:v>
                </c:pt>
                <c:pt idx="3833">
                  <c:v>0</c:v>
                </c:pt>
                <c:pt idx="3834">
                  <c:v>0</c:v>
                </c:pt>
                <c:pt idx="3835">
                  <c:v>0</c:v>
                </c:pt>
                <c:pt idx="3836">
                  <c:v>0</c:v>
                </c:pt>
                <c:pt idx="3837">
                  <c:v>0</c:v>
                </c:pt>
                <c:pt idx="3838">
                  <c:v>0</c:v>
                </c:pt>
                <c:pt idx="3839">
                  <c:v>0</c:v>
                </c:pt>
                <c:pt idx="3840">
                  <c:v>0</c:v>
                </c:pt>
                <c:pt idx="3841">
                  <c:v>0</c:v>
                </c:pt>
                <c:pt idx="3842">
                  <c:v>0</c:v>
                </c:pt>
                <c:pt idx="3843">
                  <c:v>0</c:v>
                </c:pt>
                <c:pt idx="3844">
                  <c:v>0</c:v>
                </c:pt>
                <c:pt idx="3845">
                  <c:v>0</c:v>
                </c:pt>
                <c:pt idx="3846">
                  <c:v>0</c:v>
                </c:pt>
                <c:pt idx="3847">
                  <c:v>0</c:v>
                </c:pt>
                <c:pt idx="3848">
                  <c:v>0</c:v>
                </c:pt>
                <c:pt idx="3849">
                  <c:v>0</c:v>
                </c:pt>
                <c:pt idx="3850">
                  <c:v>0</c:v>
                </c:pt>
                <c:pt idx="3851">
                  <c:v>0</c:v>
                </c:pt>
                <c:pt idx="3852">
                  <c:v>0</c:v>
                </c:pt>
                <c:pt idx="3853">
                  <c:v>0</c:v>
                </c:pt>
                <c:pt idx="3854">
                  <c:v>0</c:v>
                </c:pt>
                <c:pt idx="3855">
                  <c:v>0</c:v>
                </c:pt>
                <c:pt idx="3856">
                  <c:v>0</c:v>
                </c:pt>
                <c:pt idx="3857">
                  <c:v>0</c:v>
                </c:pt>
                <c:pt idx="3858">
                  <c:v>0</c:v>
                </c:pt>
                <c:pt idx="3859">
                  <c:v>0</c:v>
                </c:pt>
                <c:pt idx="3860">
                  <c:v>0</c:v>
                </c:pt>
                <c:pt idx="3861">
                  <c:v>0</c:v>
                </c:pt>
                <c:pt idx="3862">
                  <c:v>0</c:v>
                </c:pt>
                <c:pt idx="3863">
                  <c:v>0</c:v>
                </c:pt>
                <c:pt idx="3864">
                  <c:v>0</c:v>
                </c:pt>
                <c:pt idx="3865">
                  <c:v>0</c:v>
                </c:pt>
                <c:pt idx="3866">
                  <c:v>0</c:v>
                </c:pt>
                <c:pt idx="3867">
                  <c:v>0</c:v>
                </c:pt>
                <c:pt idx="3868">
                  <c:v>0</c:v>
                </c:pt>
                <c:pt idx="3869">
                  <c:v>0</c:v>
                </c:pt>
                <c:pt idx="3870">
                  <c:v>0</c:v>
                </c:pt>
                <c:pt idx="3871">
                  <c:v>0</c:v>
                </c:pt>
                <c:pt idx="3872">
                  <c:v>0</c:v>
                </c:pt>
                <c:pt idx="3873">
                  <c:v>0</c:v>
                </c:pt>
                <c:pt idx="3874">
                  <c:v>0</c:v>
                </c:pt>
                <c:pt idx="3875">
                  <c:v>0</c:v>
                </c:pt>
                <c:pt idx="3876">
                  <c:v>0</c:v>
                </c:pt>
                <c:pt idx="3877">
                  <c:v>0</c:v>
                </c:pt>
                <c:pt idx="3878">
                  <c:v>0</c:v>
                </c:pt>
                <c:pt idx="3879">
                  <c:v>0</c:v>
                </c:pt>
                <c:pt idx="3880">
                  <c:v>0</c:v>
                </c:pt>
                <c:pt idx="3881">
                  <c:v>0</c:v>
                </c:pt>
                <c:pt idx="3882">
                  <c:v>0</c:v>
                </c:pt>
                <c:pt idx="3883">
                  <c:v>0</c:v>
                </c:pt>
                <c:pt idx="3884">
                  <c:v>0</c:v>
                </c:pt>
                <c:pt idx="3885">
                  <c:v>0</c:v>
                </c:pt>
                <c:pt idx="3886">
                  <c:v>0</c:v>
                </c:pt>
                <c:pt idx="3887">
                  <c:v>0</c:v>
                </c:pt>
                <c:pt idx="3888">
                  <c:v>0</c:v>
                </c:pt>
                <c:pt idx="3889">
                  <c:v>0</c:v>
                </c:pt>
                <c:pt idx="3890">
                  <c:v>0</c:v>
                </c:pt>
                <c:pt idx="3891">
                  <c:v>0</c:v>
                </c:pt>
                <c:pt idx="3892">
                  <c:v>0</c:v>
                </c:pt>
                <c:pt idx="3893">
                  <c:v>0</c:v>
                </c:pt>
                <c:pt idx="3894">
                  <c:v>0</c:v>
                </c:pt>
                <c:pt idx="3895">
                  <c:v>0</c:v>
                </c:pt>
                <c:pt idx="3896">
                  <c:v>0</c:v>
                </c:pt>
                <c:pt idx="3897">
                  <c:v>0</c:v>
                </c:pt>
                <c:pt idx="3898">
                  <c:v>0</c:v>
                </c:pt>
                <c:pt idx="3899">
                  <c:v>0</c:v>
                </c:pt>
                <c:pt idx="3900">
                  <c:v>0</c:v>
                </c:pt>
                <c:pt idx="3901">
                  <c:v>0</c:v>
                </c:pt>
                <c:pt idx="3902">
                  <c:v>0</c:v>
                </c:pt>
                <c:pt idx="3903">
                  <c:v>0</c:v>
                </c:pt>
                <c:pt idx="3904">
                  <c:v>0</c:v>
                </c:pt>
                <c:pt idx="3905">
                  <c:v>0</c:v>
                </c:pt>
                <c:pt idx="3906">
                  <c:v>0</c:v>
                </c:pt>
                <c:pt idx="3907">
                  <c:v>0</c:v>
                </c:pt>
                <c:pt idx="3908">
                  <c:v>0</c:v>
                </c:pt>
                <c:pt idx="3909">
                  <c:v>0</c:v>
                </c:pt>
                <c:pt idx="3910">
                  <c:v>0</c:v>
                </c:pt>
                <c:pt idx="3911">
                  <c:v>0</c:v>
                </c:pt>
                <c:pt idx="3912">
                  <c:v>0</c:v>
                </c:pt>
                <c:pt idx="3913">
                  <c:v>0</c:v>
                </c:pt>
                <c:pt idx="3914">
                  <c:v>0</c:v>
                </c:pt>
                <c:pt idx="3915">
                  <c:v>0</c:v>
                </c:pt>
                <c:pt idx="3916">
                  <c:v>0</c:v>
                </c:pt>
                <c:pt idx="3917">
                  <c:v>0</c:v>
                </c:pt>
                <c:pt idx="3918">
                  <c:v>0</c:v>
                </c:pt>
                <c:pt idx="3919">
                  <c:v>0</c:v>
                </c:pt>
                <c:pt idx="3920">
                  <c:v>0</c:v>
                </c:pt>
                <c:pt idx="3921">
                  <c:v>0</c:v>
                </c:pt>
                <c:pt idx="3922">
                  <c:v>0</c:v>
                </c:pt>
                <c:pt idx="3923">
                  <c:v>0</c:v>
                </c:pt>
                <c:pt idx="3924">
                  <c:v>0</c:v>
                </c:pt>
                <c:pt idx="3925">
                  <c:v>0</c:v>
                </c:pt>
                <c:pt idx="3926">
                  <c:v>0</c:v>
                </c:pt>
                <c:pt idx="3927">
                  <c:v>0</c:v>
                </c:pt>
                <c:pt idx="3928">
                  <c:v>0</c:v>
                </c:pt>
              </c:numCache>
              <c:extLst xmlns:c15="http://schemas.microsoft.com/office/drawing/2012/chart"/>
            </c:numRef>
          </c:y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CA7E-4118-8939-2D732257BC57}"/>
            </c:ext>
          </c:extLst>
        </c:ser>
        <c:ser>
          <c:idx val="4"/>
          <c:order val="6"/>
          <c:tx>
            <c:v>UN R138 MAX SPL</c:v>
          </c:tx>
          <c:spPr>
            <a:ln w="3810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xVal>
            <c:numRef>
              <c:f>'MIN SAFETY'!$O$30:$O$32</c:f>
              <c:numCache>
                <c:formatCode>General</c:formatCode>
                <c:ptCount val="3"/>
                <c:pt idx="0" formatCode="0.0">
                  <c:v>0</c:v>
                </c:pt>
                <c:pt idx="1">
                  <c:v>10</c:v>
                </c:pt>
                <c:pt idx="2">
                  <c:v>20</c:v>
                </c:pt>
              </c:numCache>
            </c:numRef>
          </c:xVal>
          <c:yVal>
            <c:numRef>
              <c:f>'MIN SAFETY'!$P$30:$P$32</c:f>
              <c:numCache>
                <c:formatCode>General</c:formatCode>
                <c:ptCount val="3"/>
                <c:pt idx="0" formatCode="0.0">
                  <c:v>66</c:v>
                </c:pt>
                <c:pt idx="1">
                  <c:v>66</c:v>
                </c:pt>
                <c:pt idx="2">
                  <c:v>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A7E-4118-8939-2D732257BC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6408816"/>
        <c:axId val="436412144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1"/>
                <c:tx>
                  <c:v>CRUISE</c:v>
                </c:tx>
                <c:spPr>
                  <a:ln w="25400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MIN SAFETY'!$C$7:$C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39.07715318164081</c:v>
                      </c:pt>
                      <c:pt idx="1">
                        <c:v>42.312824452710153</c:v>
                      </c:pt>
                      <c:pt idx="2">
                        <c:v>45.639636681975475</c:v>
                      </c:pt>
                      <c:pt idx="3">
                        <c:v>48.303469669506498</c:v>
                      </c:pt>
                      <c:pt idx="4">
                        <c:v>50.512609621468975</c:v>
                      </c:pt>
                      <c:pt idx="5">
                        <c:v>52.402250882171316</c:v>
                      </c:pt>
                      <c:pt idx="6">
                        <c:v>54.056932193540817</c:v>
                      </c:pt>
                      <c:pt idx="7">
                        <c:v>55.531714350332848</c:v>
                      </c:pt>
                      <c:pt idx="8">
                        <c:v>56.864169126186987</c:v>
                      </c:pt>
                      <c:pt idx="9">
                        <c:v>58.081015864890716</c:v>
                      </c:pt>
                      <c:pt idx="10">
                        <c:v>59.201930734866266</c:v>
                      </c:pt>
                      <c:pt idx="11">
                        <c:v>60.24183285088629</c:v>
                      </c:pt>
                      <c:pt idx="12">
                        <c:v>61.212315642826155</c:v>
                      </c:pt>
                      <c:pt idx="13">
                        <c:v>62.122577611321503</c:v>
                      </c:pt>
                      <c:pt idx="14">
                        <c:v>62.980047996840668</c:v>
                      </c:pt>
                      <c:pt idx="15">
                        <c:v>63.790819766503489</c:v>
                      </c:pt>
                      <c:pt idx="16">
                        <c:v>64.559956990352845</c:v>
                      </c:pt>
                      <c:pt idx="17">
                        <c:v>65.291717997536821</c:v>
                      </c:pt>
                      <c:pt idx="18">
                        <c:v>65.989720636628675</c:v>
                      </c:pt>
                      <c:pt idx="19">
                        <c:v>66.657066840623756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CA7E-4118-8939-2D732257BC57}"/>
                  </c:ext>
                </c:extLst>
              </c15:ser>
            </c15:filteredScatterSeries>
            <c15:filteredScatterSeries>
              <c15:ser>
                <c:idx val="9"/>
                <c:order val="2"/>
                <c:tx>
                  <c:v>ACC 5.0 m/s²</c:v>
                </c:tx>
                <c:spPr>
                  <a:ln w="2540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7:$B$26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7:$M$26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3.419243045860078</c:v>
                      </c:pt>
                      <c:pt idx="1">
                        <c:v>54.666026131391135</c:v>
                      </c:pt>
                      <c:pt idx="2">
                        <c:v>56.080086462829186</c:v>
                      </c:pt>
                      <c:pt idx="3">
                        <c:v>57.363550882214952</c:v>
                      </c:pt>
                      <c:pt idx="4">
                        <c:v>58.53996996273419</c:v>
                      </c:pt>
                      <c:pt idx="5">
                        <c:v>59.626901169764963</c:v>
                      </c:pt>
                      <c:pt idx="6">
                        <c:v>60.637795358209623</c:v>
                      </c:pt>
                      <c:pt idx="7">
                        <c:v>61.583196627979873</c:v>
                      </c:pt>
                      <c:pt idx="8">
                        <c:v>62.471533393842613</c:v>
                      </c:pt>
                      <c:pt idx="9">
                        <c:v>63.309656623959199</c:v>
                      </c:pt>
                      <c:pt idx="10">
                        <c:v>64.103216287046052</c:v>
                      </c:pt>
                      <c:pt idx="11">
                        <c:v>64.85693109127601</c:v>
                      </c:pt>
                      <c:pt idx="12">
                        <c:v>65.574785933347613</c:v>
                      </c:pt>
                      <c:pt idx="13">
                        <c:v>66.260179193427831</c:v>
                      </c:pt>
                      <c:pt idx="14">
                        <c:v>66.916034485179637</c:v>
                      </c:pt>
                      <c:pt idx="15">
                        <c:v>67.544886729380977</c:v>
                      </c:pt>
                      <c:pt idx="16">
                        <c:v>68.148949358401765</c:v>
                      </c:pt>
                      <c:pt idx="17">
                        <c:v>68.730167436997988</c:v>
                      </c:pt>
                      <c:pt idx="18">
                        <c:v>69.290260121947313</c:v>
                      </c:pt>
                      <c:pt idx="19">
                        <c:v>69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CA7E-4118-8939-2D732257BC57}"/>
                  </c:ext>
                </c:extLst>
              </c15:ser>
            </c15:filteredScatterSeries>
            <c15:filteredScatterSeries>
              <c15:ser>
                <c:idx val="1"/>
                <c:order val="3"/>
                <c:tx>
                  <c:v>CRUISE incl Margin</c:v>
                </c:tx>
                <c:spPr>
                  <a:ln w="25400" cap="rnd">
                    <a:solidFill>
                      <a:srgbClr val="00B050"/>
                    </a:solidFill>
                    <a:prstDash val="solid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C$33:$C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45.07715318164081</c:v>
                      </c:pt>
                      <c:pt idx="1">
                        <c:v>48.312824452710153</c:v>
                      </c:pt>
                      <c:pt idx="2">
                        <c:v>51.639636681975475</c:v>
                      </c:pt>
                      <c:pt idx="3">
                        <c:v>54.303469669506498</c:v>
                      </c:pt>
                      <c:pt idx="4">
                        <c:v>56.512609621468975</c:v>
                      </c:pt>
                      <c:pt idx="5">
                        <c:v>58.402250882171316</c:v>
                      </c:pt>
                      <c:pt idx="6">
                        <c:v>60.056932193540817</c:v>
                      </c:pt>
                      <c:pt idx="7">
                        <c:v>61.531714350332848</c:v>
                      </c:pt>
                      <c:pt idx="8">
                        <c:v>62.864169126186987</c:v>
                      </c:pt>
                      <c:pt idx="9">
                        <c:v>64.081015864890716</c:v>
                      </c:pt>
                      <c:pt idx="10">
                        <c:v>65.201930734866266</c:v>
                      </c:pt>
                      <c:pt idx="11">
                        <c:v>66.241832850886283</c:v>
                      </c:pt>
                      <c:pt idx="12">
                        <c:v>67.212315642826155</c:v>
                      </c:pt>
                      <c:pt idx="13">
                        <c:v>68.122577611321503</c:v>
                      </c:pt>
                      <c:pt idx="14">
                        <c:v>68.980047996840668</c:v>
                      </c:pt>
                      <c:pt idx="15">
                        <c:v>69.790819766503489</c:v>
                      </c:pt>
                      <c:pt idx="16">
                        <c:v>70.559956990352845</c:v>
                      </c:pt>
                      <c:pt idx="17">
                        <c:v>71.291717997536821</c:v>
                      </c:pt>
                      <c:pt idx="18">
                        <c:v>71.989720636628675</c:v>
                      </c:pt>
                      <c:pt idx="19">
                        <c:v>72.65706684062375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CA7E-4118-8939-2D732257BC57}"/>
                  </c:ext>
                </c:extLst>
              </c15:ser>
            </c15:filteredScatterSeries>
            <c15:filteredScatterSeries>
              <c15:ser>
                <c:idx val="2"/>
                <c:order val="4"/>
                <c:tx>
                  <c:v>ACC 5.0 m/s² incl Margin</c:v>
                </c:tx>
                <c:spPr>
                  <a:ln w="25400" cap="rnd">
                    <a:solidFill>
                      <a:srgbClr val="00B05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B$33:$B$5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</c:v>
                      </c:pt>
                      <c:pt idx="1">
                        <c:v>10</c:v>
                      </c:pt>
                      <c:pt idx="2">
                        <c:v>15</c:v>
                      </c:pt>
                      <c:pt idx="3">
                        <c:v>20</c:v>
                      </c:pt>
                      <c:pt idx="4">
                        <c:v>25</c:v>
                      </c:pt>
                      <c:pt idx="5">
                        <c:v>30</c:v>
                      </c:pt>
                      <c:pt idx="6">
                        <c:v>35</c:v>
                      </c:pt>
                      <c:pt idx="7">
                        <c:v>40</c:v>
                      </c:pt>
                      <c:pt idx="8">
                        <c:v>45</c:v>
                      </c:pt>
                      <c:pt idx="9">
                        <c:v>50</c:v>
                      </c:pt>
                      <c:pt idx="10">
                        <c:v>55</c:v>
                      </c:pt>
                      <c:pt idx="11">
                        <c:v>60</c:v>
                      </c:pt>
                      <c:pt idx="12">
                        <c:v>65</c:v>
                      </c:pt>
                      <c:pt idx="13">
                        <c:v>70</c:v>
                      </c:pt>
                      <c:pt idx="14">
                        <c:v>75</c:v>
                      </c:pt>
                      <c:pt idx="15">
                        <c:v>80</c:v>
                      </c:pt>
                      <c:pt idx="16">
                        <c:v>85</c:v>
                      </c:pt>
                      <c:pt idx="17">
                        <c:v>90</c:v>
                      </c:pt>
                      <c:pt idx="18">
                        <c:v>95</c:v>
                      </c:pt>
                      <c:pt idx="19">
                        <c:v>10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MIN SAFETY'!$M$33:$M$52</c15:sqref>
                        </c15:formulaRef>
                      </c:ext>
                    </c:extLst>
                    <c:numCache>
                      <c:formatCode>0.0</c:formatCode>
                      <c:ptCount val="20"/>
                      <c:pt idx="0">
                        <c:v>59.419243045860078</c:v>
                      </c:pt>
                      <c:pt idx="1">
                        <c:v>60.666026131391135</c:v>
                      </c:pt>
                      <c:pt idx="2">
                        <c:v>62.080086462829186</c:v>
                      </c:pt>
                      <c:pt idx="3">
                        <c:v>63.363550882214952</c:v>
                      </c:pt>
                      <c:pt idx="4">
                        <c:v>64.53996996273419</c:v>
                      </c:pt>
                      <c:pt idx="5">
                        <c:v>65.626901169764963</c:v>
                      </c:pt>
                      <c:pt idx="6">
                        <c:v>66.637795358209615</c:v>
                      </c:pt>
                      <c:pt idx="7">
                        <c:v>67.583196627979873</c:v>
                      </c:pt>
                      <c:pt idx="8">
                        <c:v>68.471533393842606</c:v>
                      </c:pt>
                      <c:pt idx="9">
                        <c:v>69.309656623959199</c:v>
                      </c:pt>
                      <c:pt idx="10">
                        <c:v>70.103216287046052</c:v>
                      </c:pt>
                      <c:pt idx="11">
                        <c:v>70.85693109127601</c:v>
                      </c:pt>
                      <c:pt idx="12">
                        <c:v>71.574785933347613</c:v>
                      </c:pt>
                      <c:pt idx="13">
                        <c:v>72.260179193427831</c:v>
                      </c:pt>
                      <c:pt idx="14">
                        <c:v>72.916034485179637</c:v>
                      </c:pt>
                      <c:pt idx="15">
                        <c:v>73.544886729380977</c:v>
                      </c:pt>
                      <c:pt idx="16">
                        <c:v>74.148949358401765</c:v>
                      </c:pt>
                      <c:pt idx="17">
                        <c:v>74.730167436997988</c:v>
                      </c:pt>
                      <c:pt idx="18">
                        <c:v>75.290260121947313</c:v>
                      </c:pt>
                      <c:pt idx="19">
                        <c:v>75.830754946966209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CA7E-4118-8939-2D732257BC57}"/>
                  </c:ext>
                </c:extLst>
              </c15:ser>
            </c15:filteredScatterSeries>
            <c15:filteredScatterSeries>
              <c15:ser>
                <c:idx val="6"/>
                <c:order val="5"/>
                <c:tx>
                  <c:v>Draft UN R138.02 Max Sound</c:v>
                </c:tx>
                <c:spPr>
                  <a:ln w="31750" cap="rnd">
                    <a:solidFill>
                      <a:srgbClr val="00B0F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G$13:$AG$2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</c:v>
                      </c:pt>
                      <c:pt idx="1">
                        <c:v>10</c:v>
                      </c:pt>
                      <c:pt idx="2">
                        <c:v>20</c:v>
                      </c:pt>
                      <c:pt idx="3">
                        <c:v>30</c:v>
                      </c:pt>
                      <c:pt idx="4">
                        <c:v>32</c:v>
                      </c:pt>
                      <c:pt idx="5">
                        <c:v>40</c:v>
                      </c:pt>
                      <c:pt idx="6">
                        <c:v>50</c:v>
                      </c:pt>
                      <c:pt idx="7">
                        <c:v>5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SEP 1'!$AH$13:$AH$2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66</c:v>
                      </c:pt>
                      <c:pt idx="1">
                        <c:v>66</c:v>
                      </c:pt>
                      <c:pt idx="2">
                        <c:v>66</c:v>
                      </c:pt>
                      <c:pt idx="3">
                        <c:v>66</c:v>
                      </c:pt>
                      <c:pt idx="4">
                        <c:v>66</c:v>
                      </c:pt>
                      <c:pt idx="5">
                        <c:v>57.56</c:v>
                      </c:pt>
                      <c:pt idx="6">
                        <c:v>47</c:v>
                      </c:pt>
                      <c:pt idx="7">
                        <c:v>0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CA7E-4118-8939-2D732257BC57}"/>
                  </c:ext>
                </c:extLst>
              </c15:ser>
            </c15:filteredScatterSeries>
          </c:ext>
        </c:extLst>
      </c:scatterChart>
      <c:valAx>
        <c:axId val="436408816"/>
        <c:scaling>
          <c:orientation val="minMax"/>
          <c:max val="1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Vehicle Speed [km/h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12144"/>
        <c:crosses val="autoZero"/>
        <c:crossBetween val="midCat"/>
      </c:valAx>
      <c:valAx>
        <c:axId val="436412144"/>
        <c:scaling>
          <c:orientation val="minMax"/>
          <c:max val="110"/>
          <c:min val="4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/>
                  <a:t>Sound Pressure Level [dB(A)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640881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655</cdr:x>
      <cdr:y>0.49462</cdr:y>
    </cdr:from>
    <cdr:to>
      <cdr:x>0.79435</cdr:x>
      <cdr:y>0.49462</cdr:y>
    </cdr:to>
    <cdr:cxnSp macro="">
      <cdr:nvCxnSpPr>
        <cdr:cNvPr id="3" name="Gerader Verbinder 2">
          <a:extLst xmlns:a="http://schemas.openxmlformats.org/drawingml/2006/main">
            <a:ext uri="{FF2B5EF4-FFF2-40B4-BE49-F238E27FC236}">
              <a16:creationId xmlns:a16="http://schemas.microsoft.com/office/drawing/2014/main" id="{46E46A7D-1567-01EB-0E8C-31399539C856}"/>
            </a:ext>
          </a:extLst>
        </cdr:cNvPr>
        <cdr:cNvCxnSpPr/>
      </cdr:nvCxnSpPr>
      <cdr:spPr>
        <a:xfrm xmlns:a="http://schemas.openxmlformats.org/drawingml/2006/main">
          <a:off x="1958008" y="2492896"/>
          <a:ext cx="4104456" cy="0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rgbClr val="FFC000"/>
          </a:solidFill>
          <a:prstDash val="lg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4712</cdr:x>
      <cdr:y>0.44557</cdr:y>
    </cdr:from>
    <cdr:to>
      <cdr:x>0.64339</cdr:x>
      <cdr:y>0.51701</cdr:y>
    </cdr:to>
    <cdr:sp macro="" textlink="">
      <cdr:nvSpPr>
        <cdr:cNvPr id="4" name="Textfeld 3">
          <a:extLst xmlns:a="http://schemas.openxmlformats.org/drawingml/2006/main">
            <a:ext uri="{FF2B5EF4-FFF2-40B4-BE49-F238E27FC236}">
              <a16:creationId xmlns:a16="http://schemas.microsoft.com/office/drawing/2014/main" id="{7689C347-BE44-A505-8AC2-CB5126E00059}"/>
            </a:ext>
          </a:extLst>
        </cdr:cNvPr>
        <cdr:cNvSpPr txBox="1"/>
      </cdr:nvSpPr>
      <cdr:spPr>
        <a:xfrm xmlns:a="http://schemas.openxmlformats.org/drawingml/2006/main">
          <a:off x="1886000" y="2245678"/>
          <a:ext cx="3024336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100" dirty="0">
              <a:solidFill>
                <a:schemeClr val="tx1"/>
              </a:solidFill>
            </a:rPr>
            <a:t>EMISIA-STUDY: BORDER OF CONCERN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7548</cdr:x>
      <cdr:y>0.31699</cdr:y>
    </cdr:from>
    <cdr:to>
      <cdr:x>0.25475</cdr:x>
      <cdr:y>0.417</cdr:y>
    </cdr:to>
    <cdr:sp macro="" textlink="">
      <cdr:nvSpPr>
        <cdr:cNvPr id="3" name="Pfeil: nach links und rechts 2">
          <a:extLst xmlns:a="http://schemas.openxmlformats.org/drawingml/2006/main">
            <a:ext uri="{FF2B5EF4-FFF2-40B4-BE49-F238E27FC236}">
              <a16:creationId xmlns:a16="http://schemas.microsoft.com/office/drawing/2014/main" id="{4BBB2B3C-C5DF-D5EB-4EC4-0E55D35752B3}"/>
            </a:ext>
          </a:extLst>
        </cdr:cNvPr>
        <cdr:cNvSpPr/>
      </cdr:nvSpPr>
      <cdr:spPr>
        <a:xfrm xmlns:a="http://schemas.openxmlformats.org/drawingml/2006/main">
          <a:off x="576064" y="1597606"/>
          <a:ext cx="1368189" cy="504050"/>
        </a:xfrm>
        <a:prstGeom xmlns:a="http://schemas.openxmlformats.org/drawingml/2006/main" prst="leftRightArrow">
          <a:avLst/>
        </a:prstGeom>
        <a:solidFill xmlns:a="http://schemas.openxmlformats.org/drawingml/2006/main">
          <a:srgbClr val="00B0F0">
            <a:alpha val="49000"/>
          </a:srgb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anchor="ctr" anchorCtr="0"/>
        <a:lstStyle xmlns:a="http://schemas.openxmlformats.org/drawingml/2006/main"/>
        <a:p xmlns:a="http://schemas.openxmlformats.org/drawingml/2006/main">
          <a:pPr algn="ctr"/>
          <a:r>
            <a:rPr lang="de-DE" b="1" dirty="0">
              <a:solidFill>
                <a:srgbClr val="0000FF"/>
              </a:solidFill>
            </a:rPr>
            <a:t>UN R138</a:t>
          </a:r>
        </a:p>
      </cdr:txBody>
    </cdr:sp>
  </cdr:relSizeAnchor>
  <cdr:relSizeAnchor xmlns:cdr="http://schemas.openxmlformats.org/drawingml/2006/chartDrawing">
    <cdr:from>
      <cdr:x>0.25475</cdr:x>
      <cdr:y>0.31699</cdr:y>
    </cdr:from>
    <cdr:to>
      <cdr:x>0.79254</cdr:x>
      <cdr:y>0.417</cdr:y>
    </cdr:to>
    <cdr:sp macro="" textlink="">
      <cdr:nvSpPr>
        <cdr:cNvPr id="4" name="Pfeil: nach links und rechts 3">
          <a:extLst xmlns:a="http://schemas.openxmlformats.org/drawingml/2006/main">
            <a:ext uri="{FF2B5EF4-FFF2-40B4-BE49-F238E27FC236}">
              <a16:creationId xmlns:a16="http://schemas.microsoft.com/office/drawing/2014/main" id="{C34C70F1-DDF6-695B-DE56-771AC9FA558C}"/>
            </a:ext>
          </a:extLst>
        </cdr:cNvPr>
        <cdr:cNvSpPr/>
      </cdr:nvSpPr>
      <cdr:spPr>
        <a:xfrm xmlns:a="http://schemas.openxmlformats.org/drawingml/2006/main">
          <a:off x="1944216" y="1597606"/>
          <a:ext cx="4104413" cy="504050"/>
        </a:xfrm>
        <a:prstGeom xmlns:a="http://schemas.openxmlformats.org/drawingml/2006/main" prst="leftRightArrow">
          <a:avLst/>
        </a:prstGeom>
        <a:solidFill xmlns:a="http://schemas.openxmlformats.org/drawingml/2006/main">
          <a:schemeClr val="bg1">
            <a:lumMod val="50000"/>
            <a:alpha val="49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de-DE" b="1" dirty="0">
              <a:solidFill>
                <a:schemeClr val="tx1"/>
              </a:solidFill>
            </a:rPr>
            <a:t>UN R51 Annex 7</a:t>
          </a:r>
        </a:p>
      </cdr:txBody>
    </cdr:sp>
  </cdr:relSizeAnchor>
  <cdr:relSizeAnchor xmlns:cdr="http://schemas.openxmlformats.org/drawingml/2006/chartDrawing">
    <cdr:from>
      <cdr:x>0.46232</cdr:x>
      <cdr:y>0.39999</cdr:y>
    </cdr:from>
    <cdr:to>
      <cdr:x>0.58387</cdr:x>
      <cdr:y>0.5</cdr:y>
    </cdr:to>
    <cdr:sp macro="" textlink="">
      <cdr:nvSpPr>
        <cdr:cNvPr id="2" name="Pfeil: nach links und rechts 1">
          <a:extLst xmlns:a="http://schemas.openxmlformats.org/drawingml/2006/main">
            <a:ext uri="{FF2B5EF4-FFF2-40B4-BE49-F238E27FC236}">
              <a16:creationId xmlns:a16="http://schemas.microsoft.com/office/drawing/2014/main" id="{E38C00C1-8510-651A-5394-0CAB217D1B78}"/>
            </a:ext>
          </a:extLst>
        </cdr:cNvPr>
        <cdr:cNvSpPr/>
      </cdr:nvSpPr>
      <cdr:spPr>
        <a:xfrm xmlns:a="http://schemas.openxmlformats.org/drawingml/2006/main">
          <a:off x="3528392" y="2015950"/>
          <a:ext cx="927720" cy="504050"/>
        </a:xfrm>
        <a:prstGeom xmlns:a="http://schemas.openxmlformats.org/drawingml/2006/main" prst="leftRightArrow">
          <a:avLst/>
        </a:prstGeom>
        <a:solidFill xmlns:a="http://schemas.openxmlformats.org/drawingml/2006/main">
          <a:schemeClr val="bg1">
            <a:lumMod val="50000"/>
            <a:alpha val="49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de-DE" b="1" dirty="0">
              <a:solidFill>
                <a:schemeClr val="tx1"/>
              </a:solidFill>
            </a:rPr>
            <a:t>Annex 3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B55DF59-0F53-4050-AF5E-93585945D4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F9FE615-1A8E-46A9-928A-77BADCFDED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4D0299-3734-408F-BE89-7B5D604F3AE9}" type="datetimeFigureOut">
              <a:rPr lang="fr-FR" smtClean="0"/>
              <a:t>06/02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4F20359-3716-4F65-9039-AF43318B20E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63075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8B55E68-307C-4842-94B4-6ED33D51A79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29050" y="9363075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6FC91E-EDAE-45FA-B21E-72AE395D1EE3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46343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8938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>
            <a:lvl1pPr defTabSz="919163" rtl="0">
              <a:defRPr sz="1200"/>
            </a:lvl1pPr>
          </a:lstStyle>
          <a:p>
            <a:endParaRPr lang="en-US" altLang="ja-JP" dirty="0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30638" y="0"/>
            <a:ext cx="2928937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>
            <a:lvl1pPr algn="r" defTabSz="919163" rtl="0">
              <a:defRPr sz="1200"/>
            </a:lvl1pPr>
          </a:lstStyle>
          <a:p>
            <a:endParaRPr lang="en-US" altLang="ja-JP" dirty="0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6838" y="739775"/>
            <a:ext cx="6569075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6275" y="4681538"/>
            <a:ext cx="5408613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quez pour modifier les styles du texte du masque</a:t>
            </a:r>
          </a:p>
          <a:p>
            <a:pPr lvl="1"/>
            <a:r>
              <a:rPr lang="en-US" altLang="ja-JP"/>
              <a:t>Deuxième niveau</a:t>
            </a:r>
          </a:p>
          <a:p>
            <a:pPr lvl="2"/>
            <a:r>
              <a:rPr lang="en-US" altLang="ja-JP"/>
              <a:t>Troisième niveau</a:t>
            </a:r>
          </a:p>
          <a:p>
            <a:pPr lvl="3"/>
            <a:r>
              <a:rPr lang="en-US" altLang="ja-JP"/>
              <a:t>Quatrième niveau</a:t>
            </a:r>
          </a:p>
          <a:p>
            <a:pPr lvl="4"/>
            <a:r>
              <a:rPr lang="en-US" altLang="ja-JP"/>
              <a:t>Cinquième niveau</a:t>
            </a:r>
            <a:endParaRPr lang="en-US" altLang="ja-JP" dirty="0"/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1488"/>
            <a:ext cx="2928938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b" anchorCtr="0" compatLnSpc="1">
            <a:prstTxWarp prst="textNoShape">
              <a:avLst/>
            </a:prstTxWarp>
          </a:bodyPr>
          <a:lstStyle>
            <a:lvl1pPr defTabSz="919163" rtl="0">
              <a:defRPr sz="1200"/>
            </a:lvl1pPr>
          </a:lstStyle>
          <a:p>
            <a:endParaRPr lang="en-US" altLang="ja-JP" dirty="0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30638" y="9361488"/>
            <a:ext cx="2928937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b" anchorCtr="0" compatLnSpc="1">
            <a:prstTxWarp prst="textNoShape">
              <a:avLst/>
            </a:prstTxWarp>
          </a:bodyPr>
          <a:lstStyle>
            <a:lvl1pPr algn="r" defTabSz="919163" rtl="0">
              <a:defRPr sz="1200"/>
            </a:lvl1pPr>
          </a:lstStyle>
          <a:p>
            <a:fld id="{41FE2CFF-C77F-45F5-8196-7FFE9E57B434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en-US" altLang="ja-JP" smtClean="0"/>
              <a:pPr/>
              <a:t>1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742118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reen lines are shown in the control range</a:t>
            </a:r>
          </a:p>
          <a:p>
            <a:r>
              <a:rPr lang="en-US" dirty="0"/>
              <a:t>Tyre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en-US" altLang="ja-JP" smtClean="0"/>
              <a:pPr/>
              <a:t>10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1862137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eadline </a:t>
            </a:r>
            <a:r>
              <a:rPr lang="de-DE" dirty="0" err="1"/>
              <a:t>important</a:t>
            </a:r>
            <a:r>
              <a:rPr lang="de-DE" dirty="0"/>
              <a:t>,  All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uropean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fight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, but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effect</a:t>
            </a:r>
            <a:r>
              <a:rPr lang="de-DE" dirty="0"/>
              <a:t> on </a:t>
            </a:r>
            <a:r>
              <a:rPr lang="de-DE" dirty="0" err="1"/>
              <a:t>market</a:t>
            </a:r>
            <a:r>
              <a:rPr lang="de-DE" dirty="0"/>
              <a:t>,  </a:t>
            </a:r>
            <a:r>
              <a:rPr lang="de-DE" dirty="0" err="1"/>
              <a:t>big</a:t>
            </a:r>
            <a:r>
              <a:rPr lang="de-DE" dirty="0"/>
              <a:t> </a:t>
            </a:r>
            <a:r>
              <a:rPr lang="de-DE" dirty="0" err="1"/>
              <a:t>loopwhol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in EU540/2014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en-US" altLang="ja-JP" smtClean="0"/>
              <a:pPr/>
              <a:t>11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19755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en-US" altLang="ja-JP" smtClean="0"/>
              <a:pPr/>
              <a:t>2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340490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quirement between the reported speeds, not all methods can be used for all requirements, natural sound definition</a:t>
            </a:r>
          </a:p>
          <a:p>
            <a:r>
              <a:rPr lang="en-US" dirty="0"/>
              <a:t>What are the benefits for safet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en-US" altLang="ja-JP" smtClean="0"/>
              <a:pPr/>
              <a:t>3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9252154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en-US" altLang="ja-JP" smtClean="0"/>
              <a:pPr/>
              <a:t>4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155020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en-US" altLang="ja-JP" smtClean="0"/>
              <a:pPr/>
              <a:t>5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0593131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en-US" altLang="ja-JP" smtClean="0"/>
              <a:pPr/>
              <a:t>6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805430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en-US" altLang="ja-JP" smtClean="0"/>
              <a:pPr/>
              <a:t>7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1185310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en-US" altLang="ja-JP" smtClean="0"/>
              <a:pPr/>
              <a:t>8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4471094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en-US" altLang="ja-JP" smtClean="0"/>
              <a:pPr/>
              <a:t>9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69071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92A71E6-EA25-5C17-F3E9-71A228B7C0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390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2A71E6-EA25-5C17-F3E9-71A228B7C0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odifiez le style du titre</a:t>
            </a:r>
            <a:endParaRPr lang="en-US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 rtl="0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Modifiez le style des sous-titres du masque</a:t>
            </a:r>
            <a:endParaRPr lang="en-US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810C45F-D7AC-40B8-B361-5609B0B61D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5616" y="128212"/>
            <a:ext cx="1512168" cy="12306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D829038-956D-9E4B-028D-BDA53B390D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9078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829038-956D-9E4B-028D-BDA53B390D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odifiez le style du titre</a:t>
            </a:r>
            <a:endParaRPr lang="en-US" dirty="0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US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76E22B0-3A17-45B7-AF4B-28357ACE90C3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C2E9FF2-3FA7-0BFD-809A-0A537B909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108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2E9FF2-3FA7-0BFD-809A-0A537B909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vertical 1"/>
          <p:cNvSpPr>
            <a:spLocks noGrp="1"/>
          </p:cNvSpPr>
          <p:nvPr>
            <p:ph type="title" orient="vert" hasCustomPrompt="1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>
            <a:lvl1pPr rtl="0">
              <a:defRPr/>
            </a:lvl1pPr>
          </a:lstStyle>
          <a:p>
            <a:r>
              <a:rPr lang="en-US"/>
              <a:t>Modifiez le style du titre</a:t>
            </a:r>
            <a:endParaRPr lang="en-US" dirty="0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US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04D32B0-8A42-44E7-9B4D-3C2296BFBD2E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1FE6836-52A1-D875-FD5F-644B548C6B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2209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FE6836-52A1-D875-FD5F-644B548C6B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marL="742950" indent="-285750" rtl="0">
              <a:buFont typeface="Wingdings" panose="05000000000000000000" pitchFamily="2" charset="2"/>
              <a:buChar char="§"/>
              <a:defRPr/>
            </a:lvl2pPr>
            <a:lvl3pPr marL="1143000" indent="-228600" rtl="0">
              <a:buFont typeface="Calibri" panose="020F0502020204030204" pitchFamily="34" charset="0"/>
              <a:buChar char="−"/>
              <a:defRPr/>
            </a:lvl3pPr>
            <a:lvl4pPr marL="1600200" indent="-228600" rtl="0">
              <a:buFont typeface="Courier New" panose="02070309020205020404" pitchFamily="49" charset="0"/>
              <a:buChar char="o"/>
              <a:defRPr/>
            </a:lvl4pPr>
            <a:lvl5pPr rtl="0">
              <a:defRPr/>
            </a:lvl5pPr>
          </a:lstStyle>
          <a:p>
            <a:pPr lvl="0"/>
            <a:r>
              <a:rPr lang="en-US"/>
              <a:t>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US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4A5D464-134C-4C80-B41F-7081051DEBC1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25703C-85A2-8DE5-1A9F-A142C9C068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553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25703C-85A2-8DE5-1A9F-A142C9C068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vert="horz" anchor="t"/>
          <a:lstStyle>
            <a:lvl1pPr algn="l" rtl="0">
              <a:defRPr sz="4000" b="1" cap="all"/>
            </a:lvl1pPr>
          </a:lstStyle>
          <a:p>
            <a:r>
              <a:rPr lang="en-US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 rtl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Modifier les styles du texte du masque</a:t>
            </a:r>
            <a:endParaRPr lang="en-US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FD7F56F4-53F4-4744-8FEF-840AE151320B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ECB69EE-8206-4878-4DEF-CDFA882991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6954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CB69EE-8206-4878-4DEF-CDFA882991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 rtl="0">
              <a:defRPr sz="2800"/>
            </a:lvl1pPr>
            <a:lvl2pPr rtl="0">
              <a:defRPr sz="2400"/>
            </a:lvl2pPr>
            <a:lvl3pPr rtl="0">
              <a:defRPr sz="2000"/>
            </a:lvl3pPr>
            <a:lvl4pPr rtl="0">
              <a:defRPr sz="1800"/>
            </a:lvl4pPr>
            <a:lvl5pPr rtl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 rtl="0">
              <a:defRPr sz="2800"/>
            </a:lvl1pPr>
            <a:lvl2pPr rtl="0">
              <a:defRPr sz="2400"/>
            </a:lvl2pPr>
            <a:lvl3pPr rtl="0">
              <a:defRPr sz="2000"/>
            </a:lvl3pPr>
            <a:lvl4pPr rtl="0">
              <a:defRPr sz="1800"/>
            </a:lvl4pPr>
            <a:lvl5pPr rtl="0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US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ADCAE38-802C-4BCD-8E23-F653FABC34F1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6B25C30-9C26-F02D-3805-5A9985121C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4432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B25C30-9C26-F02D-3805-5A9985121C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Modifier les styles du texte du masque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 rtl="0">
              <a:defRPr sz="2400"/>
            </a:lvl1pPr>
            <a:lvl2pPr rtl="0">
              <a:defRPr sz="2000"/>
            </a:lvl2pPr>
            <a:lvl3pPr rtl="0">
              <a:defRPr sz="1800"/>
            </a:lvl3pPr>
            <a:lvl4pPr rtl="0">
              <a:defRPr sz="1600"/>
            </a:lvl4pPr>
            <a:lvl5pPr rtl="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Modifier les styles du texte du masque</a:t>
            </a:r>
            <a:endParaRPr lang="en-US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 rtl="0">
              <a:defRPr sz="2400"/>
            </a:lvl1pPr>
            <a:lvl2pPr rtl="0">
              <a:defRPr sz="2000"/>
            </a:lvl2pPr>
            <a:lvl3pPr rtl="0">
              <a:defRPr sz="1800"/>
            </a:lvl3pPr>
            <a:lvl4pPr rtl="0">
              <a:defRPr sz="1600"/>
            </a:lvl4pPr>
            <a:lvl5pPr rtl="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US" dirty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6CF7609-A126-430D-864C-5251E8DC0566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1F3657D-8E60-29D4-3578-27789540D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6260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F3657D-8E60-29D4-3578-27789540D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odifiez le style du titre</a:t>
            </a:r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1C2F580-C48E-4C14-8111-BE255E1134ED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B10CC69-606A-F937-BAF0-D3F137B80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136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10CC69-606A-F937-BAF0-D3F137B80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D09A974D-1DC4-4C29-960C-4F23E42A2DA2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EAD4A21-1372-F06C-CDBA-8CA2F48CB5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718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AD4A21-1372-F06C-CDBA-8CA2F48CB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vert="horz" anchor="b"/>
          <a:lstStyle>
            <a:lvl1pPr algn="l" rtl="0">
              <a:defRPr sz="2000" b="1"/>
            </a:lvl1pPr>
          </a:lstStyle>
          <a:p>
            <a:r>
              <a:rPr lang="en-US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 rtl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Modifier les styles du texte du masque</a:t>
            </a:r>
            <a:endParaRPr lang="en-US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4050A2B-ED20-46DB-805A-96BB748EB760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FB84E8F-FCB7-ED05-14FB-E0A7D77A1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533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B84E8F-FCB7-ED05-14FB-E0A7D77A1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vert="horz" anchor="b"/>
          <a:lstStyle>
            <a:lvl1pPr algn="l" rtl="0">
              <a:defRPr sz="2000" b="1"/>
            </a:lvl1pPr>
          </a:lstStyle>
          <a:p>
            <a:r>
              <a:rPr lang="en-US"/>
              <a:t>Modifiez le style du titre</a:t>
            </a:r>
            <a:endParaRPr lang="en-US" dirty="0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 hasCustomPrompt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 rtl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quez sur l'icône pour ajouter une image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 rtl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Modifier les styles du texte du masque</a:t>
            </a:r>
            <a:endParaRPr lang="en-US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7F7C1A6-5432-4A88-9199-948E52B80477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chemeClr val="bg1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569CE7C-00D2-F2CE-BDD4-ED4527C1C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42634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92" imgH="595" progId="TCLayout.ActiveDocument.1">
                  <p:embed/>
                </p:oleObj>
              </mc:Choice>
              <mc:Fallback>
                <p:oleObj name="think-cell Folie" r:id="rId14" imgW="592" imgH="59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69CE7C-00D2-F2CE-BDD4-ED4527C1C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quez pour modifier les styles du texte du masque</a:t>
            </a:r>
          </a:p>
          <a:p>
            <a:pPr lvl="1"/>
            <a:r>
              <a:rPr lang="en-US" altLang="ja-JP"/>
              <a:t>Deuxième niveau</a:t>
            </a:r>
          </a:p>
          <a:p>
            <a:pPr lvl="2"/>
            <a:r>
              <a:rPr lang="en-US" altLang="ja-JP"/>
              <a:t>Troisième niveau</a:t>
            </a:r>
          </a:p>
          <a:p>
            <a:pPr lvl="3"/>
            <a:r>
              <a:rPr lang="en-US" altLang="ja-JP"/>
              <a:t>Quatrième niveau</a:t>
            </a:r>
          </a:p>
          <a:p>
            <a:pPr lvl="4"/>
            <a:r>
              <a:rPr lang="en-US" altLang="ja-JP"/>
              <a:t>Cinquième niveau</a:t>
            </a:r>
            <a:endParaRPr lang="en-US" altLang="ja-JP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rtl="0">
              <a:defRPr sz="1400">
                <a:ea typeface="ＭＳ Ｐゴシック" pitchFamily="34" charset="-128"/>
              </a:defRPr>
            </a:lvl1pPr>
          </a:lstStyle>
          <a:p>
            <a:endParaRPr lang="en-US" altLang="ja-JP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rtl="0">
              <a:defRPr sz="1400">
                <a:ea typeface="ＭＳ Ｐゴシック" pitchFamily="34" charset="-128"/>
              </a:defRPr>
            </a:lvl1pPr>
          </a:lstStyle>
          <a:p>
            <a:endParaRPr lang="en-US" altLang="ja-JP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rtl="0">
              <a:defRPr sz="1400">
                <a:ea typeface="ＭＳ Ｐゴシック" pitchFamily="34" charset="-128"/>
              </a:defRPr>
            </a:lvl1pPr>
          </a:lstStyle>
          <a:p>
            <a:fld id="{841ADF96-E6CA-4184-9617-4AA0842E2F41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CB5CF22-54B9-40F4-91F9-FB0988E05961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79512" y="20335"/>
            <a:ext cx="884497" cy="14047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−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chart" Target="../charts/chart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chart" Target="../charts/chart1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notesSlide" Target="../notesSlides/notesSlide7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emf"/><Relationship Id="rId11" Type="http://schemas.openxmlformats.org/officeDocument/2006/relationships/chart" Target="../charts/chart6.xml"/><Relationship Id="rId5" Type="http://schemas.openxmlformats.org/officeDocument/2006/relationships/oleObject" Target="../embeddings/oleObject20.bin"/><Relationship Id="rId10" Type="http://schemas.openxmlformats.org/officeDocument/2006/relationships/hyperlink" Target="https://www.udv.de/udv-en/perception-of-electric-vehicles-with-avas-131732" TargetMode="External"/><Relationship Id="rId4" Type="http://schemas.openxmlformats.org/officeDocument/2006/relationships/notesSlide" Target="../notesSlides/notesSlide8.xml"/><Relationship Id="rId9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notesSlide" Target="../notesSlides/notesSlide9.xml"/><Relationship Id="rId7" Type="http://schemas.openxmlformats.org/officeDocument/2006/relationships/chart" Target="../charts/chart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10" Type="http://schemas.openxmlformats.org/officeDocument/2006/relationships/chart" Target="../charts/chart10.xml"/><Relationship Id="rId4" Type="http://schemas.openxmlformats.org/officeDocument/2006/relationships/oleObject" Target="../embeddings/oleObject21.bin"/><Relationship Id="rId9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DE45457-D406-BA76-E817-06C79C40D2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501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E45457-D406-BA76-E817-06C79C40D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3">
            <a:extLst>
              <a:ext uri="{FF2B5EF4-FFF2-40B4-BE49-F238E27FC236}">
                <a16:creationId xmlns:a16="http://schemas.microsoft.com/office/drawing/2014/main" id="{4CF181AD-2138-4110-A5E2-8649EDB8490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OICA Position Paper </a:t>
            </a:r>
            <a:br>
              <a:rPr lang="en-US" dirty="0"/>
            </a:br>
            <a:r>
              <a:rPr lang="en-US" dirty="0"/>
              <a:t>on new 02 Series of Amendments to </a:t>
            </a:r>
            <a:br>
              <a:rPr lang="en-US" dirty="0"/>
            </a:br>
            <a:r>
              <a:rPr lang="en-US" dirty="0"/>
              <a:t>UN Regulation No. 138</a:t>
            </a:r>
          </a:p>
        </p:txBody>
      </p:sp>
      <p:sp>
        <p:nvSpPr>
          <p:cNvPr id="5" name="Sous-titre 4">
            <a:extLst>
              <a:ext uri="{FF2B5EF4-FFF2-40B4-BE49-F238E27FC236}">
                <a16:creationId xmlns:a16="http://schemas.microsoft.com/office/drawing/2014/main" id="{15054904-277D-4336-8282-11732B0470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4430816"/>
            <a:ext cx="8534400" cy="1207984"/>
          </a:xfrm>
        </p:spPr>
        <p:txBody>
          <a:bodyPr/>
          <a:lstStyle/>
          <a:p>
            <a:r>
              <a:rPr lang="en-US" dirty="0"/>
              <a:t>GRBP/2024/02 and GRBP-79-34</a:t>
            </a:r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A7379A3F-F5C4-E956-990E-936AC8F8D3FA}"/>
              </a:ext>
            </a:extLst>
          </p:cNvPr>
          <p:cNvSpPr txBox="1"/>
          <p:nvPr/>
        </p:nvSpPr>
        <p:spPr>
          <a:xfrm>
            <a:off x="263352" y="236"/>
            <a:ext cx="47733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dirty="0"/>
              <a:t>Submitted by the experts of OICA</a:t>
            </a:r>
          </a:p>
        </p:txBody>
      </p:sp>
      <p:sp>
        <p:nvSpPr>
          <p:cNvPr id="19" name="ZoneTexte 1">
            <a:extLst>
              <a:ext uri="{FF2B5EF4-FFF2-40B4-BE49-F238E27FC236}">
                <a16:creationId xmlns:a16="http://schemas.microsoft.com/office/drawing/2014/main" id="{28EF72BA-0EB4-D5B7-C137-DB42337A13C6}"/>
              </a:ext>
            </a:extLst>
          </p:cNvPr>
          <p:cNvSpPr txBox="1"/>
          <p:nvPr/>
        </p:nvSpPr>
        <p:spPr>
          <a:xfrm>
            <a:off x="9768408" y="44624"/>
            <a:ext cx="227550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Informal Document </a:t>
            </a:r>
            <a:r>
              <a:rPr lang="en-GB" sz="1000" b="1" dirty="0"/>
              <a:t>GRBP-79-44</a:t>
            </a:r>
            <a:endParaRPr lang="en-GB" sz="1000" b="1" dirty="0">
              <a:highlight>
                <a:srgbClr val="FFFF00"/>
              </a:highlight>
            </a:endParaRPr>
          </a:p>
          <a:p>
            <a:r>
              <a:rPr lang="en-GB" sz="1000" dirty="0"/>
              <a:t>79</a:t>
            </a:r>
            <a:r>
              <a:rPr lang="en-GB" sz="1000" baseline="30000" dirty="0"/>
              <a:t>th</a:t>
            </a:r>
            <a:r>
              <a:rPr lang="en-GB" sz="1000" dirty="0"/>
              <a:t> GRBP, 06 – 09 February 2024</a:t>
            </a:r>
          </a:p>
          <a:p>
            <a:r>
              <a:rPr lang="en-GB" sz="1000" dirty="0"/>
              <a:t>Agenda Item 6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58B47A-6A5E-9E7E-5C2D-471D7EE7B2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7270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58B47A-6A5E-9E7E-5C2D-471D7EE7B2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Diagramm 31">
            <a:extLst>
              <a:ext uri="{FF2B5EF4-FFF2-40B4-BE49-F238E27FC236}">
                <a16:creationId xmlns:a16="http://schemas.microsoft.com/office/drawing/2014/main" id="{E7D0E12A-1D7A-5639-54F7-D507A5C75C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7812942"/>
              </p:ext>
            </p:extLst>
          </p:nvPr>
        </p:nvGraphicFramePr>
        <p:xfrm>
          <a:off x="479376" y="1543362"/>
          <a:ext cx="7632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6EB3EC60-C0C6-1040-BBE3-5319523E20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7490870"/>
              </p:ext>
            </p:extLst>
          </p:nvPr>
        </p:nvGraphicFramePr>
        <p:xfrm>
          <a:off x="479376" y="1548124"/>
          <a:ext cx="7632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02D4F80-E677-077C-4CA9-60CCB8119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dirty="0"/>
              <a:t>Alternative Concept for Electric Vehicles</a:t>
            </a:r>
            <a:br>
              <a:rPr lang="en-US" sz="3600" dirty="0"/>
            </a:br>
            <a:r>
              <a:rPr lang="en-US" sz="2800" kern="0" dirty="0"/>
              <a:t>UN R51.03 Annex 7 ASEP provisions</a:t>
            </a:r>
            <a:endParaRPr lang="en-US" sz="360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3BD0EAD-2E61-63A3-AA49-EF64F68210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84232" y="1600201"/>
            <a:ext cx="3816424" cy="4525963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/>
              <a:t>This provision will</a:t>
            </a:r>
          </a:p>
          <a:p>
            <a:r>
              <a:rPr lang="en-US" sz="2000" b="1" dirty="0"/>
              <a:t>connect and close any open area </a:t>
            </a:r>
            <a:r>
              <a:rPr lang="en-US" sz="2000" dirty="0"/>
              <a:t>between </a:t>
            </a:r>
            <a:br>
              <a:rPr lang="en-US" sz="2000" dirty="0"/>
            </a:br>
            <a:r>
              <a:rPr lang="en-US" sz="2000" dirty="0"/>
              <a:t>UN R138 and UN R51.</a:t>
            </a:r>
          </a:p>
          <a:p>
            <a:r>
              <a:rPr lang="en-US" sz="2000" b="1" dirty="0"/>
              <a:t>avoid overlapping </a:t>
            </a:r>
            <a:r>
              <a:rPr lang="en-US" sz="2000" dirty="0"/>
              <a:t>regulations </a:t>
            </a:r>
            <a:r>
              <a:rPr lang="en-US" sz="2000" b="1" dirty="0"/>
              <a:t>for Hybrids</a:t>
            </a:r>
            <a:r>
              <a:rPr lang="en-US" sz="2000" dirty="0"/>
              <a:t>.</a:t>
            </a:r>
          </a:p>
          <a:p>
            <a:r>
              <a:rPr lang="en-US" sz="2000" dirty="0"/>
              <a:t>sufficiently </a:t>
            </a:r>
            <a:r>
              <a:rPr lang="en-US" sz="2000" b="1" dirty="0"/>
              <a:t>ensure</a:t>
            </a:r>
            <a:r>
              <a:rPr lang="en-US" sz="2000" dirty="0"/>
              <a:t>, that EVs are designed to ensure a significant </a:t>
            </a:r>
            <a:r>
              <a:rPr lang="en-US" sz="2000" b="1" dirty="0"/>
              <a:t>benefit</a:t>
            </a:r>
            <a:r>
              <a:rPr lang="en-US" sz="2000" dirty="0"/>
              <a:t>.</a:t>
            </a:r>
          </a:p>
          <a:p>
            <a:r>
              <a:rPr lang="en-US" sz="2000" dirty="0"/>
              <a:t>welcome </a:t>
            </a:r>
            <a:r>
              <a:rPr lang="en-US" sz="2000" b="1" dirty="0"/>
              <a:t>your comments for improvement </a:t>
            </a:r>
            <a:r>
              <a:rPr lang="en-US" sz="2000" dirty="0"/>
              <a:t>and be presented as a </a:t>
            </a:r>
            <a:r>
              <a:rPr lang="en-US" sz="2000" b="1" dirty="0"/>
              <a:t>working document to </a:t>
            </a:r>
            <a:br>
              <a:rPr lang="en-US" sz="2000" b="1" dirty="0"/>
            </a:br>
            <a:r>
              <a:rPr lang="en-US" sz="2000" b="1" dirty="0"/>
              <a:t>80</a:t>
            </a:r>
            <a:r>
              <a:rPr lang="en-US" sz="2000" b="1" baseline="30000" dirty="0"/>
              <a:t>th</a:t>
            </a:r>
            <a:r>
              <a:rPr lang="en-US" sz="2000" b="1" dirty="0"/>
              <a:t> GRBP </a:t>
            </a:r>
            <a:r>
              <a:rPr lang="en-US" sz="2000" dirty="0"/>
              <a:t>in Sept. 2024.</a:t>
            </a:r>
          </a:p>
          <a:p>
            <a:endParaRPr lang="en-US" sz="2000" dirty="0"/>
          </a:p>
          <a:p>
            <a:endParaRPr lang="en-US" sz="2000" dirty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6224AD11-6485-1F0F-2A93-64D313A14C1A}"/>
              </a:ext>
            </a:extLst>
          </p:cNvPr>
          <p:cNvSpPr txBox="1"/>
          <p:nvPr/>
        </p:nvSpPr>
        <p:spPr>
          <a:xfrm>
            <a:off x="1055440" y="4293096"/>
            <a:ext cx="14660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00B0F0"/>
                </a:solidFill>
              </a:rPr>
              <a:t>AVAS Max. SPL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3F00872E-2ED6-88E3-6421-158472820276}"/>
              </a:ext>
            </a:extLst>
          </p:cNvPr>
          <p:cNvSpPr txBox="1"/>
          <p:nvPr/>
        </p:nvSpPr>
        <p:spPr>
          <a:xfrm rot="21073032">
            <a:off x="2621757" y="4059820"/>
            <a:ext cx="1877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SEP Maximum SPL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23EA2504-D8CB-2D99-5EAE-CEDB4A67D109}"/>
              </a:ext>
            </a:extLst>
          </p:cNvPr>
          <p:cNvSpPr txBox="1"/>
          <p:nvPr/>
        </p:nvSpPr>
        <p:spPr>
          <a:xfrm rot="20729540">
            <a:off x="2120900" y="4990088"/>
            <a:ext cx="24975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00B050"/>
                </a:solidFill>
              </a:rPr>
              <a:t>Safe Minimum SPL for cruise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0D9FC326-70AA-2233-052E-1C47AD9F716F}"/>
              </a:ext>
            </a:extLst>
          </p:cNvPr>
          <p:cNvSpPr txBox="1"/>
          <p:nvPr/>
        </p:nvSpPr>
        <p:spPr>
          <a:xfrm rot="20907834">
            <a:off x="1335876" y="4669743"/>
            <a:ext cx="29848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00B050"/>
                </a:solidFill>
              </a:rPr>
              <a:t>Safe Minimum SPL for acceleration</a:t>
            </a:r>
          </a:p>
        </p:txBody>
      </p:sp>
    </p:spTree>
    <p:extLst>
      <p:ext uri="{BB962C8B-B14F-4D97-AF65-F5344CB8AC3E}">
        <p14:creationId xmlns:p14="http://schemas.microsoft.com/office/powerpoint/2010/main" val="29682073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2" grpId="0">
        <p:bldAsOne/>
      </p:bldGraphic>
      <p:bldGraphic spid="5" grpId="0">
        <p:bldAsOne/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1C96F39-BD0C-7A1E-8387-78416A951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6285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C96F39-BD0C-7A1E-8387-78416A951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F5A22F2-5C44-618F-7E7B-49B2B3031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1464" y="274638"/>
            <a:ext cx="8496944" cy="1143000"/>
          </a:xfrm>
        </p:spPr>
        <p:txBody>
          <a:bodyPr vert="horz"/>
          <a:lstStyle/>
          <a:p>
            <a:r>
              <a:rPr lang="en-US" sz="2800" dirty="0"/>
              <a:t>What could be achieved with a bit more time for finding a solution acceptable to all stakeholders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C22F2E-4C93-2980-AEB0-121AC59D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4" y="1556792"/>
            <a:ext cx="11017224" cy="4896544"/>
          </a:xfrm>
        </p:spPr>
        <p:txBody>
          <a:bodyPr/>
          <a:lstStyle/>
          <a:p>
            <a:r>
              <a:rPr lang="en-US" sz="2000" dirty="0">
                <a:ea typeface="Times New Roman" panose="02020603050405020304" pitchFamily="18" charset="0"/>
              </a:rPr>
              <a:t>M</a:t>
            </a:r>
            <a:r>
              <a:rPr lang="en-US" sz="2000" dirty="0">
                <a:effectLst/>
                <a:ea typeface="Times New Roman" panose="02020603050405020304" pitchFamily="18" charset="0"/>
              </a:rPr>
              <a:t>oving to a new series </a:t>
            </a:r>
            <a:r>
              <a:rPr lang="en-US" sz="2000" dirty="0">
                <a:ea typeface="Times New Roman" panose="02020603050405020304" pitchFamily="18" charset="0"/>
              </a:rPr>
              <a:t>02 of UN R138 will have limited effect in Europe, if it is not introduced into EU Regulation 540/2014, since there is no delegated act for the EU Commission any more since 2019.</a:t>
            </a:r>
          </a:p>
          <a:p>
            <a:r>
              <a:rPr lang="en-US" sz="2000" dirty="0"/>
              <a:t>OICA proposal can be applied sooner by splitting safety and environment requirements with Supplement in each Regulation (UN R51 &amp; UN R138).</a:t>
            </a:r>
          </a:p>
          <a:p>
            <a:pPr lvl="1"/>
            <a:r>
              <a:rPr lang="en-US" sz="1600" dirty="0"/>
              <a:t>Avoid regulatory conflict between safety and environmental aspects – sufficient margin between sound levels for UN R138 and UN R51. </a:t>
            </a:r>
          </a:p>
          <a:p>
            <a:pPr lvl="1"/>
            <a:r>
              <a:rPr lang="en-US" sz="1600" dirty="0"/>
              <a:t>Use in each discipline the required individual scientific approaches:</a:t>
            </a:r>
          </a:p>
          <a:p>
            <a:pPr lvl="2"/>
            <a:r>
              <a:rPr lang="en-US" sz="1400" b="1" dirty="0"/>
              <a:t>Safety sound levels </a:t>
            </a:r>
            <a:r>
              <a:rPr lang="en-US" sz="1400" dirty="0"/>
              <a:t>are derived from considerations on audibility and recognition described by frequency bands and masking effects. This is addressed by UN R138 Annex 3, UN R28, UN R165, …</a:t>
            </a:r>
          </a:p>
          <a:p>
            <a:pPr lvl="2"/>
            <a:r>
              <a:rPr lang="en-US" sz="1400" b="1" dirty="0"/>
              <a:t>Environmental aspects </a:t>
            </a:r>
            <a:r>
              <a:rPr lang="en-US" sz="1400" dirty="0"/>
              <a:t>are addressed by UN R51.03 Annex 3 (</a:t>
            </a:r>
            <a:r>
              <a:rPr lang="en-US" sz="1400" dirty="0" err="1"/>
              <a:t>L</a:t>
            </a:r>
            <a:r>
              <a:rPr lang="en-US" sz="1400" baseline="-25000" dirty="0" err="1"/>
              <a:t>eq</a:t>
            </a:r>
            <a:r>
              <a:rPr lang="en-US" sz="1400" dirty="0"/>
              <a:t> &amp; health effects) and Annex 7 (annoyance). </a:t>
            </a:r>
          </a:p>
          <a:p>
            <a:r>
              <a:rPr lang="en-US" sz="2000" dirty="0"/>
              <a:t>Quality of documents will be improved:</a:t>
            </a:r>
          </a:p>
          <a:p>
            <a:pPr lvl="1"/>
            <a:r>
              <a:rPr lang="en-US" sz="1600" dirty="0"/>
              <a:t>Avoid overlapping of max sound level requirements for Hybrids from UN R138 and UN R51 Annex 7.</a:t>
            </a:r>
          </a:p>
          <a:p>
            <a:pPr lvl="1"/>
            <a:r>
              <a:rPr lang="en-US" sz="1600" dirty="0"/>
              <a:t>Exclude ambiguous definition “natural sound”. Replace them with performance-based requirements. </a:t>
            </a:r>
          </a:p>
          <a:p>
            <a:pPr lvl="1"/>
            <a:r>
              <a:rPr lang="en-US" sz="1600" dirty="0"/>
              <a:t>Consistently address whole vehicle sound, avoid requirements that cannot be proven in real life.</a:t>
            </a:r>
          </a:p>
          <a:p>
            <a:pPr lvl="1"/>
            <a:r>
              <a:rPr lang="en-US" sz="1600" dirty="0"/>
              <a:t>Check requirements regarding the support of upcoming/needed developments, e.g. AD vehicles, quieter tyres/roads, low budget EVs.</a:t>
            </a:r>
          </a:p>
          <a:p>
            <a:pPr lvl="1"/>
            <a:endParaRPr lang="en-US" sz="1800" dirty="0"/>
          </a:p>
          <a:p>
            <a:pPr lvl="1"/>
            <a:endParaRPr lang="en-US" sz="1600" dirty="0"/>
          </a:p>
          <a:p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2544857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74F01FC-0762-E7D9-EF69-FADE69A8F2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33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4F01FC-0762-E7D9-EF69-FADE69A8F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C9794B-CFE2-B92F-3AA9-1D1E53AB6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sz="3600" dirty="0"/>
              <a:t>OICA’s Position</a:t>
            </a:r>
            <a:br>
              <a:rPr lang="sv-SE" dirty="0"/>
            </a:br>
            <a:r>
              <a:rPr lang="sv-SE" sz="2800" dirty="0"/>
              <a:t>Summary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AA4387-0E6F-555B-DD5D-BACDCA9310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1"/>
            <a:ext cx="11463064" cy="4525963"/>
          </a:xfrm>
        </p:spPr>
        <p:txBody>
          <a:bodyPr>
            <a:normAutofit lnSpcReduction="10000"/>
          </a:bodyPr>
          <a:lstStyle/>
          <a:p>
            <a:r>
              <a:rPr lang="en-US" sz="2200" dirty="0"/>
              <a:t>Classification of EV’s sound emission</a:t>
            </a:r>
          </a:p>
          <a:p>
            <a:pPr lvl="1"/>
            <a:r>
              <a:rPr lang="en-US" sz="1800" dirty="0"/>
              <a:t>Sound pressure levels lower than or equal to 75 dB(A)</a:t>
            </a:r>
            <a:r>
              <a:rPr lang="en-US" sz="1800" baseline="30000" dirty="0"/>
              <a:t>*</a:t>
            </a:r>
            <a:r>
              <a:rPr lang="en-US" sz="1800" dirty="0"/>
              <a:t> are no subject of concern (EMISIA Study, 2021).</a:t>
            </a:r>
          </a:p>
          <a:p>
            <a:pPr lvl="1"/>
            <a:r>
              <a:rPr lang="en-US" sz="1800" dirty="0"/>
              <a:t>EVs are </a:t>
            </a:r>
            <a:r>
              <a:rPr lang="en-US" sz="1800" b="1" dirty="0"/>
              <a:t>substantially below the quietest vehicles </a:t>
            </a:r>
            <a:r>
              <a:rPr lang="en-US" sz="1800" dirty="0"/>
              <a:t>(ASEP Database 2005-2010), even when equipped </a:t>
            </a:r>
            <a:r>
              <a:rPr lang="en-US" sz="1800" b="1" dirty="0"/>
              <a:t>with sound enhancement systems</a:t>
            </a:r>
            <a:r>
              <a:rPr lang="en-US" sz="1800" dirty="0"/>
              <a:t> beyond the scope of UN R138.01.</a:t>
            </a:r>
          </a:p>
          <a:p>
            <a:pPr lvl="1"/>
            <a:r>
              <a:rPr lang="en-US" sz="1800" b="1" dirty="0"/>
              <a:t>“Safe Minimum Sound”** </a:t>
            </a:r>
            <a:r>
              <a:rPr lang="en-US" sz="1800" dirty="0"/>
              <a:t>with a margin of 6 dB is just reached by cruising EVs, while even higher level of </a:t>
            </a:r>
            <a:r>
              <a:rPr lang="en-US" sz="1800" b="1" dirty="0"/>
              <a:t> </a:t>
            </a:r>
            <a:r>
              <a:rPr lang="en-US" sz="1800" dirty="0"/>
              <a:t>“Safe Minimum Sound” for</a:t>
            </a:r>
            <a:r>
              <a:rPr lang="en-US" sz="1800" b="1" dirty="0"/>
              <a:t> </a:t>
            </a:r>
            <a:r>
              <a:rPr lang="en-US" sz="1800" dirty="0"/>
              <a:t>accelerating EVs is needed. </a:t>
            </a:r>
          </a:p>
          <a:p>
            <a:r>
              <a:rPr lang="en-US" sz="2200" dirty="0"/>
              <a:t>Proposals of GRBP-79-34 need more development:</a:t>
            </a:r>
          </a:p>
          <a:p>
            <a:pPr lvl="1"/>
            <a:r>
              <a:rPr lang="en-US" sz="1800" dirty="0"/>
              <a:t>Proposed </a:t>
            </a:r>
            <a:r>
              <a:rPr lang="en-US" sz="1800" b="1" dirty="0"/>
              <a:t>cutting of AVAS sound </a:t>
            </a:r>
            <a:r>
              <a:rPr lang="en-US" sz="1800" dirty="0"/>
              <a:t>above 32 km/h </a:t>
            </a:r>
            <a:r>
              <a:rPr lang="en-US" sz="1800" b="1" dirty="0"/>
              <a:t>will preclude an improved “Safe Minimum Sound”**.</a:t>
            </a:r>
          </a:p>
          <a:p>
            <a:pPr lvl="1"/>
            <a:r>
              <a:rPr lang="en-US" sz="1800" dirty="0"/>
              <a:t>Proposed definition of “natural sound” prevents performance-based requirements, preferred by OICA. </a:t>
            </a:r>
          </a:p>
          <a:p>
            <a:pPr lvl="1"/>
            <a:r>
              <a:rPr lang="en-US" sz="1800" dirty="0"/>
              <a:t>Proposed requirements above 32 km/h </a:t>
            </a:r>
          </a:p>
          <a:p>
            <a:pPr lvl="2"/>
            <a:r>
              <a:rPr lang="en-US" sz="1800" dirty="0"/>
              <a:t>create </a:t>
            </a:r>
            <a:r>
              <a:rPr lang="en-US" sz="1800" b="1" dirty="0"/>
              <a:t>overlapping regulations </a:t>
            </a:r>
            <a:r>
              <a:rPr lang="en-US" sz="1800" dirty="0"/>
              <a:t>for Hybrids with potential conflicts.</a:t>
            </a:r>
            <a:endParaRPr lang="en-US" sz="1400" dirty="0"/>
          </a:p>
          <a:p>
            <a:pPr lvl="2"/>
            <a:r>
              <a:rPr lang="en-US" sz="1800" dirty="0"/>
              <a:t>need </a:t>
            </a:r>
            <a:r>
              <a:rPr lang="en-US" sz="1800" b="1" dirty="0"/>
              <a:t>test-modes</a:t>
            </a:r>
            <a:r>
              <a:rPr lang="en-US" sz="1800" dirty="0"/>
              <a:t> or indoor testing. OICA recommends compliance can be proven in real life.</a:t>
            </a:r>
          </a:p>
          <a:p>
            <a:pPr lvl="2"/>
            <a:r>
              <a:rPr lang="en-US" sz="1800" b="1" dirty="0"/>
              <a:t>ignore/hinder upcoming/needed developments</a:t>
            </a:r>
            <a:r>
              <a:rPr lang="en-US" sz="1800" dirty="0"/>
              <a:t>, e.g. ADV, low-cost-EVs, etc.</a:t>
            </a:r>
            <a:endParaRPr lang="en-US" sz="1800" dirty="0">
              <a:solidFill>
                <a:srgbClr val="00B0F0"/>
              </a:solidFill>
            </a:endParaRPr>
          </a:p>
          <a:p>
            <a:pPr marL="457200" lvl="1" indent="0">
              <a:buNone/>
            </a:pPr>
            <a:endParaRPr lang="en-US" sz="1800" dirty="0">
              <a:solidFill>
                <a:srgbClr val="00B0F0"/>
              </a:solidFill>
            </a:endParaRPr>
          </a:p>
          <a:p>
            <a:pPr lvl="1"/>
            <a:endParaRPr lang="en-US" sz="1800" dirty="0">
              <a:solidFill>
                <a:srgbClr val="00B0F0"/>
              </a:solidFill>
            </a:endParaRP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8EAE2883-5955-F434-33F5-E4C13EBA882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544272" y="6019879"/>
            <a:ext cx="3038128" cy="29084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1050" dirty="0"/>
              <a:t>*  Regarding UN R51.03 Annex 7 at 7.5m distance</a:t>
            </a:r>
          </a:p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1050" dirty="0"/>
              <a:t>** based on NHTSA Scientific Approach</a:t>
            </a:r>
          </a:p>
        </p:txBody>
      </p:sp>
    </p:spTree>
    <p:extLst>
      <p:ext uri="{BB962C8B-B14F-4D97-AF65-F5344CB8AC3E}">
        <p14:creationId xmlns:p14="http://schemas.microsoft.com/office/powerpoint/2010/main" val="34646054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74F01FC-0762-E7D9-EF69-FADE69A8F2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541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4F01FC-0762-E7D9-EF69-FADE69A8F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C9794B-CFE2-B92F-3AA9-1D1E53AB6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sz="3600" dirty="0"/>
              <a:t>OICA’s Alternative Concept</a:t>
            </a:r>
            <a:br>
              <a:rPr lang="sv-SE" dirty="0"/>
            </a:br>
            <a:r>
              <a:rPr lang="sv-SE" sz="2800" dirty="0"/>
              <a:t>Summary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AA4387-0E6F-555B-DD5D-BACDCA9310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1"/>
            <a:ext cx="11463064" cy="4525963"/>
          </a:xfrm>
        </p:spPr>
        <p:txBody>
          <a:bodyPr>
            <a:normAutofit lnSpcReduction="10000"/>
          </a:bodyPr>
          <a:lstStyle/>
          <a:p>
            <a:r>
              <a:rPr lang="en-US" sz="2000" dirty="0"/>
              <a:t>First step: </a:t>
            </a:r>
            <a:r>
              <a:rPr lang="en-US" sz="2000" b="1" dirty="0"/>
              <a:t>Introduce Supplements </a:t>
            </a:r>
            <a:r>
              <a:rPr lang="en-US" sz="2000" dirty="0"/>
              <a:t>that </a:t>
            </a:r>
          </a:p>
          <a:p>
            <a:pPr lvl="1"/>
            <a:r>
              <a:rPr lang="en-US" sz="1800" dirty="0"/>
              <a:t>address BEVs with extended* Sound Enhancement Systems by UN R51.03, Annex 7 (ASEP).</a:t>
            </a:r>
          </a:p>
          <a:p>
            <a:pPr lvl="1"/>
            <a:r>
              <a:rPr lang="en-US" sz="1800" dirty="0"/>
              <a:t>refrain from changes to requirements – limit values, speed range and new definitions of sound types.</a:t>
            </a:r>
          </a:p>
          <a:p>
            <a:pPr lvl="1"/>
            <a:r>
              <a:rPr lang="en-US" sz="1800" dirty="0"/>
              <a:t>clarify min./max. sound requirements as function of vehicle speed and operating conditions to UN R138.01 suggested by ISO, OICA, TF-QRTV, …</a:t>
            </a:r>
          </a:p>
          <a:p>
            <a:r>
              <a:rPr lang="en-US" sz="2000" dirty="0"/>
              <a:t>Second step: </a:t>
            </a:r>
            <a:r>
              <a:rPr lang="en-US" sz="2000" b="1" dirty="0"/>
              <a:t>Mature the new series of amendments </a:t>
            </a:r>
            <a:r>
              <a:rPr lang="en-US" sz="2000" dirty="0"/>
              <a:t>that </a:t>
            </a:r>
          </a:p>
          <a:p>
            <a:pPr lvl="1"/>
            <a:r>
              <a:rPr lang="en-US" sz="1800" dirty="0"/>
              <a:t>address </a:t>
            </a:r>
            <a:r>
              <a:rPr lang="en-US" sz="1800" b="1" dirty="0"/>
              <a:t>environmental aspects through Annex 9 </a:t>
            </a:r>
            <a:r>
              <a:rPr lang="en-US" sz="1800" dirty="0"/>
              <a:t>(RD-ASEP) of UN R51 (await analysis of the monitoring data).</a:t>
            </a:r>
          </a:p>
          <a:p>
            <a:pPr lvl="1"/>
            <a:r>
              <a:rPr lang="en-US" sz="1800" dirty="0"/>
              <a:t>secure/improve safety aspects through UN R138.</a:t>
            </a:r>
          </a:p>
          <a:p>
            <a:r>
              <a:rPr lang="en-US" sz="2000" dirty="0"/>
              <a:t>What’s the catch?</a:t>
            </a:r>
          </a:p>
          <a:p>
            <a:pPr lvl="1"/>
            <a:r>
              <a:rPr lang="en-US" sz="1800" dirty="0"/>
              <a:t>Industry would commit to accept the required Supplement to UN R51.03 with shorter transitional provisions.</a:t>
            </a:r>
          </a:p>
          <a:p>
            <a:pPr lvl="1"/>
            <a:r>
              <a:rPr lang="en-US" sz="1800" dirty="0"/>
              <a:t>Freeze </a:t>
            </a:r>
            <a:r>
              <a:rPr lang="en-US" sz="1800" b="1" dirty="0"/>
              <a:t>improved technical requirements </a:t>
            </a:r>
            <a:r>
              <a:rPr lang="en-US" sz="1800" dirty="0"/>
              <a:t>of UN R138.01 in the first step.</a:t>
            </a:r>
          </a:p>
          <a:p>
            <a:pPr lvl="1"/>
            <a:r>
              <a:rPr lang="en-US" sz="1800" dirty="0"/>
              <a:t>Develop </a:t>
            </a:r>
            <a:r>
              <a:rPr lang="en-US" sz="1800" b="1" dirty="0"/>
              <a:t>a viable and feasible solution for EVs </a:t>
            </a:r>
            <a:r>
              <a:rPr lang="en-US" sz="1800" dirty="0"/>
              <a:t>in cooperation with industry.</a:t>
            </a:r>
            <a:endParaRPr lang="en-US" sz="1800" dirty="0">
              <a:solidFill>
                <a:srgbClr val="00B0F0"/>
              </a:solidFill>
            </a:endParaRPr>
          </a:p>
          <a:p>
            <a:pPr lvl="1"/>
            <a:endParaRPr lang="en-US" sz="1800" dirty="0">
              <a:solidFill>
                <a:srgbClr val="00B0F0"/>
              </a:solidFill>
            </a:endParaRPr>
          </a:p>
          <a:p>
            <a:pPr lvl="1"/>
            <a:endParaRPr lang="en-US" sz="1800" dirty="0">
              <a:solidFill>
                <a:srgbClr val="00B0F0"/>
              </a:solidFill>
            </a:endParaRPr>
          </a:p>
          <a:p>
            <a:pPr lvl="1"/>
            <a:endParaRPr lang="en-US" sz="1800" dirty="0">
              <a:solidFill>
                <a:srgbClr val="00B0F0"/>
              </a:solidFill>
            </a:endParaRPr>
          </a:p>
          <a:p>
            <a:pPr lvl="1"/>
            <a:endParaRPr lang="en-US" sz="1800" dirty="0">
              <a:solidFill>
                <a:srgbClr val="00B0F0"/>
              </a:solidFill>
            </a:endParaRP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8EAE2883-5955-F434-33F5-E4C13EBA882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871865" y="6165304"/>
            <a:ext cx="6710536" cy="14542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ts val="0"/>
              </a:spcBef>
            </a:pPr>
            <a:r>
              <a:rPr lang="en-US" sz="1050" dirty="0"/>
              <a:t>* “extended” means sound exceeding the mandatory operation range (RD-ASEP draft definition to be refined)</a:t>
            </a:r>
          </a:p>
        </p:txBody>
      </p:sp>
    </p:spTree>
    <p:extLst>
      <p:ext uri="{BB962C8B-B14F-4D97-AF65-F5344CB8AC3E}">
        <p14:creationId xmlns:p14="http://schemas.microsoft.com/office/powerpoint/2010/main" val="13727827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A5AEB9F-DA0E-8F95-33FB-EB707E2905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523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5AEB9F-DA0E-8F95-33FB-EB707E290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/>
              <a:t>Original Idea of TF QRTV </a:t>
            </a:r>
            <a:br>
              <a:rPr lang="en-US" sz="3600"/>
            </a:br>
            <a:r>
              <a:rPr lang="en-US" sz="2400"/>
              <a:t>shown in GRBP-79-06 Revised List of GRBP Priorities</a:t>
            </a:r>
            <a:br>
              <a:rPr lang="en-US" sz="2400"/>
            </a:br>
            <a:endParaRPr lang="en-US" sz="3600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9825A1CA-66DC-FCF6-7C5E-A62C228584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EP 1 at 79</a:t>
            </a:r>
            <a:r>
              <a:rPr lang="en-US" baseline="30000" dirty="0"/>
              <a:t>th</a:t>
            </a:r>
            <a:r>
              <a:rPr lang="en-US" dirty="0"/>
              <a:t> GRBP (Feb. 2024):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z="1600" dirty="0"/>
              <a:t>Review of UN-R138 for AVAS (technical, language, consistency, interpretation, operation range) </a:t>
            </a:r>
          </a:p>
          <a:p>
            <a:r>
              <a:rPr lang="en-US" sz="1600" dirty="0"/>
              <a:t>To be considered:</a:t>
            </a:r>
          </a:p>
          <a:p>
            <a:pPr lvl="1"/>
            <a:r>
              <a:rPr lang="en-US" sz="1400" dirty="0"/>
              <a:t>US FMVSS 141 &amp; UN-R138 AVAS. </a:t>
            </a:r>
          </a:p>
          <a:p>
            <a:pPr lvl="1"/>
            <a:r>
              <a:rPr lang="en-US" sz="1400" dirty="0"/>
              <a:t>Review sound specifications &amp; test conditions. </a:t>
            </a:r>
          </a:p>
          <a:p>
            <a:pPr lvl="1"/>
            <a:r>
              <a:rPr lang="en-US" sz="1400" dirty="0"/>
              <a:t>ISO 16254 Technical results expected</a:t>
            </a:r>
            <a:endParaRPr lang="en-US" sz="18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B0EFC361-AB67-19F0-7D3F-7EBBEA9761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STEP 2 at 83</a:t>
            </a:r>
            <a:r>
              <a:rPr lang="en-US" baseline="30000" dirty="0"/>
              <a:t>rd</a:t>
            </a:r>
            <a:r>
              <a:rPr lang="en-US" dirty="0"/>
              <a:t> GRBP (Feb. 2026): </a:t>
            </a:r>
          </a:p>
        </p:txBody>
      </p:sp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8C3267D6-878D-35D5-6D72-200F99E3247E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342900" marR="0" lvl="0" indent="-342900" algn="l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ure compatibility/ consistency between UN R138 and Draft UN R51.03 RD-ASEP</a:t>
            </a:r>
          </a:p>
          <a:p>
            <a:pPr marL="342900" marR="0" lvl="0" indent="-342900" algn="l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mp-up max. sound level curve under any driving condition to establish a handshake between UN R138 maximum sound and RD-ASEP of UN R51. </a:t>
            </a:r>
          </a:p>
          <a:p>
            <a:pPr marL="342900" marR="0" lvl="0" indent="-342900" algn="l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nd step linked to RD-ASEP from UN R51.</a:t>
            </a:r>
          </a:p>
          <a:p>
            <a:endParaRPr lang="en-US" dirty="0"/>
          </a:p>
        </p:txBody>
      </p:sp>
      <p:graphicFrame>
        <p:nvGraphicFramePr>
          <p:cNvPr id="55" name="Tabelle 54">
            <a:extLst>
              <a:ext uri="{FF2B5EF4-FFF2-40B4-BE49-F238E27FC236}">
                <a16:creationId xmlns:a16="http://schemas.microsoft.com/office/drawing/2014/main" id="{0E84D5D8-A494-8457-27DE-1435A4B987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032656"/>
              </p:ext>
            </p:extLst>
          </p:nvPr>
        </p:nvGraphicFramePr>
        <p:xfrm>
          <a:off x="1291167" y="4029010"/>
          <a:ext cx="9410700" cy="2554352"/>
        </p:xfrm>
        <a:graphic>
          <a:graphicData uri="http://schemas.openxmlformats.org/drawingml/2006/table">
            <a:tbl>
              <a:tblPr firstRow="1" firstCol="1" bandRow="1"/>
              <a:tblGrid>
                <a:gridCol w="626999">
                  <a:extLst>
                    <a:ext uri="{9D8B030D-6E8A-4147-A177-3AD203B41FA5}">
                      <a16:colId xmlns:a16="http://schemas.microsoft.com/office/drawing/2014/main" val="1486500875"/>
                    </a:ext>
                  </a:extLst>
                </a:gridCol>
                <a:gridCol w="1168960">
                  <a:extLst>
                    <a:ext uri="{9D8B030D-6E8A-4147-A177-3AD203B41FA5}">
                      <a16:colId xmlns:a16="http://schemas.microsoft.com/office/drawing/2014/main" val="2841860402"/>
                    </a:ext>
                  </a:extLst>
                </a:gridCol>
                <a:gridCol w="1979363">
                  <a:extLst>
                    <a:ext uri="{9D8B030D-6E8A-4147-A177-3AD203B41FA5}">
                      <a16:colId xmlns:a16="http://schemas.microsoft.com/office/drawing/2014/main" val="1445495298"/>
                    </a:ext>
                  </a:extLst>
                </a:gridCol>
                <a:gridCol w="987460">
                  <a:extLst>
                    <a:ext uri="{9D8B030D-6E8A-4147-A177-3AD203B41FA5}">
                      <a16:colId xmlns:a16="http://schemas.microsoft.com/office/drawing/2014/main" val="2055964822"/>
                    </a:ext>
                  </a:extLst>
                </a:gridCol>
                <a:gridCol w="723461">
                  <a:extLst>
                    <a:ext uri="{9D8B030D-6E8A-4147-A177-3AD203B41FA5}">
                      <a16:colId xmlns:a16="http://schemas.microsoft.com/office/drawing/2014/main" val="3822601748"/>
                    </a:ext>
                  </a:extLst>
                </a:gridCol>
                <a:gridCol w="1710921">
                  <a:extLst>
                    <a:ext uri="{9D8B030D-6E8A-4147-A177-3AD203B41FA5}">
                      <a16:colId xmlns:a16="http://schemas.microsoft.com/office/drawing/2014/main" val="1146697785"/>
                    </a:ext>
                  </a:extLst>
                </a:gridCol>
                <a:gridCol w="717115">
                  <a:extLst>
                    <a:ext uri="{9D8B030D-6E8A-4147-A177-3AD203B41FA5}">
                      <a16:colId xmlns:a16="http://schemas.microsoft.com/office/drawing/2014/main" val="3095470028"/>
                    </a:ext>
                  </a:extLst>
                </a:gridCol>
                <a:gridCol w="1496421">
                  <a:extLst>
                    <a:ext uri="{9D8B030D-6E8A-4147-A177-3AD203B41FA5}">
                      <a16:colId xmlns:a16="http://schemas.microsoft.com/office/drawing/2014/main" val="2665123710"/>
                    </a:ext>
                  </a:extLst>
                </a:gridCol>
              </a:tblGrid>
              <a:tr h="0">
                <a:tc gridSpan="8">
                  <a:txBody>
                    <a:bodyPr/>
                    <a:lstStyle/>
                    <a:p>
                      <a:pPr algn="ctr" rtl="0">
                        <a:lnSpc>
                          <a:spcPts val="1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8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BP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6398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rtl="0">
                        <a:lnSpc>
                          <a:spcPts val="1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°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ts val="1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it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ts val="1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asks / Deliverabl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ts val="1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ferenc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ts val="1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llocations / IWG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ts val="1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imelin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ts val="1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hair/Initiator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ts val="1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800" i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mmen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3424618"/>
                  </a:ext>
                </a:extLst>
              </a:tr>
              <a:tr h="1830070">
                <a:tc>
                  <a:txBody>
                    <a:bodyPr/>
                    <a:lstStyle/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iority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vision of UN-R138 -AVAS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view of UN-R138 for AVAS (technical, language, consistency, interpretation, operation range)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sure compatibility/ consistency between UN R138 and Draft UN R51.03 RD-ASEP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amp-up max. sound level curve under any driving condition to establish a handshake between UN R138 maximum sound and RD-ASEP of UN R51.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UN-R13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raft UN-R51-03 (including RD-ASEP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F QRTV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 u="sng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st step: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rtl="0">
                        <a:lnSpc>
                          <a:spcPts val="1200"/>
                        </a:lnSpc>
                        <a:spcAft>
                          <a:spcPts val="80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GRBP-78 </a:t>
                      </a: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(Sept.2023):  Informal </a:t>
                      </a: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doc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rtl="0">
                        <a:lnSpc>
                          <a:spcPts val="1200"/>
                        </a:lnSpc>
                        <a:spcAft>
                          <a:spcPts val="80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GRBP-79 </a:t>
                      </a: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(Jan./Feb.2024): Working </a:t>
                      </a: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doc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 u="sng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nd step: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rtl="0">
                        <a:lnSpc>
                          <a:spcPts val="1200"/>
                        </a:lnSpc>
                        <a:spcAft>
                          <a:spcPts val="80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GRBP-82 </a:t>
                      </a: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(Sept.2025): Informal </a:t>
                      </a: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doc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rtl="0">
                        <a:lnSpc>
                          <a:spcPts val="1200"/>
                        </a:lnSpc>
                        <a:spcAft>
                          <a:spcPts val="80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GRBP-83 </a:t>
                      </a: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(Jan./Feb.2026): Working </a:t>
                      </a: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doc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hair: German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ecretaria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IC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o be considered: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 US FMVSS 141 &amp; UN R138 AVAS.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 Review sound specifications &amp; test conditions.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 ISO 16254 Technical results expect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6195" rtl="0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aseline="30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d</a:t>
                      </a: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step linked to RD-ASEP from UN R51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36189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3606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A5AEB9F-DA0E-8F95-33FB-EB707E2905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836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5AEB9F-DA0E-8F95-33FB-EB707E290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dirty="0"/>
              <a:t>Work of TF Quiet Road Transport Vehicle</a:t>
            </a:r>
            <a:br>
              <a:rPr lang="en-US" sz="3600" dirty="0"/>
            </a:br>
            <a:r>
              <a:rPr lang="en-US" sz="2800" dirty="0"/>
              <a:t>Scope changed from Safety to Environmental</a:t>
            </a:r>
            <a:endParaRPr lang="en-US" sz="36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349079"/>
          </a:xfrm>
        </p:spPr>
        <p:txBody>
          <a:bodyPr/>
          <a:lstStyle/>
          <a:p>
            <a:r>
              <a:rPr lang="en-US" sz="2000" dirty="0">
                <a:ea typeface="Times New Roman" panose="02020603050405020304" pitchFamily="18" charset="0"/>
              </a:rPr>
              <a:t>OICA is concerned that the initial concept for a 2-stage approach as agreed among all stake holders in TF-QRTV has been given up for going immediately to a new series of amendments.</a:t>
            </a:r>
          </a:p>
          <a:p>
            <a:pPr lvl="1"/>
            <a:r>
              <a:rPr lang="en-US" sz="2000" dirty="0"/>
              <a:t>We deem this step pre-mature, as the draft UN R138.02 raises more questions and open grey zones, rather that it helps to solve issues.</a:t>
            </a:r>
          </a:p>
          <a:p>
            <a:pPr lvl="1"/>
            <a:r>
              <a:rPr lang="en-US" sz="2000" dirty="0"/>
              <a:t>Considerations of safety have mainly been suppressed – changes are not sufficiently validated in that direction.</a:t>
            </a:r>
          </a:p>
          <a:p>
            <a:pPr lvl="1"/>
            <a:r>
              <a:rPr lang="en-US" sz="2000" dirty="0"/>
              <a:t>Other topics, such as uncertainty have been addressed, but it is still unclear, what could be the real improvement.</a:t>
            </a:r>
          </a:p>
          <a:p>
            <a:r>
              <a:rPr lang="en-US" sz="2000" dirty="0"/>
              <a:t>The biggest concern of OICA is about non-validated new definitions regarding the maximum sound level. </a:t>
            </a:r>
          </a:p>
          <a:p>
            <a:r>
              <a:rPr lang="en-US" sz="2000" dirty="0"/>
              <a:t>We see no need for such stringent cutting of AVAS sound</a:t>
            </a:r>
          </a:p>
          <a:p>
            <a:pPr lvl="1"/>
            <a:r>
              <a:rPr lang="en-US" sz="2000" dirty="0"/>
              <a:t>What is the environmental benefit? For societies' health? For “single vehicle annoyance”?</a:t>
            </a:r>
          </a:p>
        </p:txBody>
      </p:sp>
      <p:sp>
        <p:nvSpPr>
          <p:cNvPr id="41" name="Inhaltsplatzhalter 2">
            <a:extLst>
              <a:ext uri="{FF2B5EF4-FFF2-40B4-BE49-F238E27FC236}">
                <a16:creationId xmlns:a16="http://schemas.microsoft.com/office/drawing/2014/main" id="{706D5E2B-F411-DBBF-20E7-58C8BC7CCDE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002337" y="6091888"/>
            <a:ext cx="5580063" cy="145424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ts val="0"/>
              </a:spcBef>
            </a:pPr>
            <a:r>
              <a:rPr lang="en-US" sz="1050" dirty="0"/>
              <a:t>Source: TF-QRTV-10-03 OICA concerns on draft UNR138-02.pdf</a:t>
            </a:r>
          </a:p>
        </p:txBody>
      </p:sp>
    </p:spTree>
    <p:extLst>
      <p:ext uri="{BB962C8B-B14F-4D97-AF65-F5344CB8AC3E}">
        <p14:creationId xmlns:p14="http://schemas.microsoft.com/office/powerpoint/2010/main" val="32947078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A5AEB9F-DA0E-8F95-33FB-EB707E2905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5AEB9F-DA0E-8F95-33FB-EB707E290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/>
              <a:t>Output of TF Quiet Road Transport Vehicle</a:t>
            </a:r>
            <a:br>
              <a:rPr lang="en-US" sz="3600"/>
            </a:br>
            <a:r>
              <a:rPr lang="en-US" sz="2800"/>
              <a:t>Documents presented in 79</a:t>
            </a:r>
            <a:r>
              <a:rPr lang="en-US" sz="2800" baseline="30000"/>
              <a:t>th</a:t>
            </a:r>
            <a:r>
              <a:rPr lang="en-US" sz="2800"/>
              <a:t> GRBP</a:t>
            </a:r>
            <a:endParaRPr lang="en-US" sz="3600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9825A1CA-66DC-FCF6-7C5E-A62C228584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RBP/2024/2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z="2000" dirty="0"/>
              <a:t>OICA understanding of </a:t>
            </a:r>
            <a:r>
              <a:rPr lang="en-US" sz="2000" b="1" dirty="0"/>
              <a:t>agreed direction </a:t>
            </a:r>
            <a:r>
              <a:rPr lang="en-US" sz="2000" dirty="0"/>
              <a:t>as of TF-QRTV #10:</a:t>
            </a:r>
          </a:p>
          <a:p>
            <a:pPr lvl="1"/>
            <a:r>
              <a:rPr lang="en-US" dirty="0"/>
              <a:t>Requirements when </a:t>
            </a:r>
            <a:r>
              <a:rPr lang="en-US" b="1" dirty="0"/>
              <a:t>AVAS Sound </a:t>
            </a:r>
            <a:br>
              <a:rPr lang="en-US" b="1" dirty="0"/>
            </a:br>
            <a:r>
              <a:rPr lang="en-US" b="1" dirty="0"/>
              <a:t>shall</a:t>
            </a:r>
            <a:r>
              <a:rPr lang="en-US" dirty="0"/>
              <a:t> be respectively, </a:t>
            </a:r>
            <a:r>
              <a:rPr lang="en-US" b="1" dirty="0"/>
              <a:t>may</a:t>
            </a:r>
            <a:r>
              <a:rPr lang="en-US" dirty="0"/>
              <a:t> be emitted.</a:t>
            </a:r>
          </a:p>
          <a:p>
            <a:pPr lvl="1"/>
            <a:r>
              <a:rPr lang="en-US" dirty="0"/>
              <a:t>Agreed </a:t>
            </a:r>
            <a:r>
              <a:rPr lang="en-US" b="1" dirty="0"/>
              <a:t>AVAS Sound Limitations</a:t>
            </a:r>
            <a:br>
              <a:rPr lang="en-US" b="1" dirty="0"/>
            </a:br>
            <a:r>
              <a:rPr lang="en-US" dirty="0"/>
              <a:t>including additional microphone locations for demonstrating maximum sound level compliance.</a:t>
            </a:r>
          </a:p>
          <a:p>
            <a:pPr lvl="1"/>
            <a:r>
              <a:rPr lang="en-US" b="1" dirty="0"/>
              <a:t>Handshake to UN R51 defined</a:t>
            </a:r>
          </a:p>
          <a:p>
            <a:r>
              <a:rPr lang="en-US" sz="2000" dirty="0"/>
              <a:t>ISO proposals to </a:t>
            </a:r>
            <a:r>
              <a:rPr lang="en-US" sz="2000" b="1" dirty="0"/>
              <a:t>improve that measurement results </a:t>
            </a:r>
            <a:r>
              <a:rPr lang="en-US" sz="2000" dirty="0"/>
              <a:t>reflect pedestrian perception and </a:t>
            </a:r>
            <a:r>
              <a:rPr lang="en-US" sz="2000" b="1" dirty="0"/>
              <a:t>reduces measurement variations</a:t>
            </a:r>
            <a:r>
              <a:rPr lang="en-US" sz="2000" dirty="0"/>
              <a:t>. (supp. by </a:t>
            </a:r>
            <a:r>
              <a:rPr lang="en-US" sz="2000" b="1" dirty="0">
                <a:solidFill>
                  <a:schemeClr val="accent2"/>
                </a:solidFill>
              </a:rPr>
              <a:t>GRBP-79-30</a:t>
            </a:r>
            <a:r>
              <a:rPr lang="en-US" sz="2000" dirty="0"/>
              <a:t>)</a:t>
            </a:r>
          </a:p>
          <a:p>
            <a:endParaRPr lang="en-US" sz="1800" dirty="0"/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B0EFC361-AB67-19F0-7D3F-7EBBEA9761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Supporting Documents:</a:t>
            </a:r>
          </a:p>
        </p:txBody>
      </p:sp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8C3267D6-878D-35D5-6D72-200F99E324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663272" cy="3951288"/>
          </a:xfrm>
        </p:spPr>
        <p:txBody>
          <a:bodyPr/>
          <a:lstStyle/>
          <a:p>
            <a:pPr>
              <a:defRPr/>
            </a:pPr>
            <a:r>
              <a:rPr lang="en-US" sz="2000" b="1" dirty="0">
                <a:solidFill>
                  <a:schemeClr val="accent2"/>
                </a:solidFill>
              </a:rPr>
              <a:t>GRBP-79-yy</a:t>
            </a:r>
            <a:r>
              <a:rPr lang="en-US" sz="2000" b="1" dirty="0"/>
              <a:t> (OICA)</a:t>
            </a:r>
            <a:br>
              <a:rPr lang="en-US" sz="2000" dirty="0"/>
            </a:br>
            <a:r>
              <a:rPr lang="en-US" sz="2000" dirty="0"/>
              <a:t>OICA-review of the working document for </a:t>
            </a:r>
            <a:r>
              <a:rPr lang="en-US" sz="2000" b="1" dirty="0"/>
              <a:t>inconsistencies and conflicts </a:t>
            </a:r>
            <a:r>
              <a:rPr lang="en-US" sz="2000" dirty="0"/>
              <a:t>(not finished) </a:t>
            </a:r>
          </a:p>
          <a:p>
            <a:pPr lvl="1">
              <a:defRPr/>
            </a:pPr>
            <a:r>
              <a:rPr lang="en-US" b="1" dirty="0">
                <a:ea typeface="+mn-ea"/>
                <a:cs typeface="+mn-cs"/>
              </a:rPr>
              <a:t>Technical clarifications </a:t>
            </a:r>
            <a:r>
              <a:rPr lang="en-US" dirty="0">
                <a:ea typeface="+mn-ea"/>
                <a:cs typeface="+mn-cs"/>
              </a:rPr>
              <a:t>to facilitate measurement of maximum sound.</a:t>
            </a:r>
          </a:p>
          <a:p>
            <a:pPr lvl="1">
              <a:defRPr/>
            </a:pPr>
            <a:r>
              <a:rPr lang="en-US" dirty="0">
                <a:ea typeface="+mn-ea"/>
                <a:cs typeface="+mn-cs"/>
              </a:rPr>
              <a:t>review of document to ensure consistent use of </a:t>
            </a:r>
            <a:r>
              <a:rPr lang="en-US" b="1" dirty="0">
                <a:ea typeface="+mn-ea"/>
                <a:cs typeface="+mn-cs"/>
              </a:rPr>
              <a:t>fonts, text size, and symbols</a:t>
            </a:r>
            <a:r>
              <a:rPr lang="en-US" dirty="0">
                <a:ea typeface="+mn-ea"/>
                <a:cs typeface="+mn-cs"/>
              </a:rPr>
              <a:t>.</a:t>
            </a:r>
            <a:endParaRPr lang="en-US" sz="1600" dirty="0"/>
          </a:p>
          <a:p>
            <a:pPr>
              <a:defRPr/>
            </a:pPr>
            <a:endParaRPr lang="en-US" sz="2000" b="1" dirty="0"/>
          </a:p>
          <a:p>
            <a:pPr>
              <a:defRPr/>
            </a:pPr>
            <a:r>
              <a:rPr lang="en-US" sz="2000" b="1" dirty="0">
                <a:solidFill>
                  <a:schemeClr val="accent2"/>
                </a:solidFill>
              </a:rPr>
              <a:t>GRBP-78-10</a:t>
            </a:r>
            <a:r>
              <a:rPr lang="en-US" sz="2000" b="1" dirty="0"/>
              <a:t> &amp; </a:t>
            </a:r>
            <a:r>
              <a:rPr lang="en-US" sz="2000" b="1" dirty="0">
                <a:solidFill>
                  <a:schemeClr val="accent2"/>
                </a:solidFill>
              </a:rPr>
              <a:t>GRBP 79-43 </a:t>
            </a:r>
            <a:r>
              <a:rPr lang="en-US" sz="2000" b="1" dirty="0"/>
              <a:t>(OICA)</a:t>
            </a:r>
            <a:br>
              <a:rPr lang="en-US" sz="2000" b="1" dirty="0"/>
            </a:br>
            <a:r>
              <a:rPr lang="en-US" sz="2000" dirty="0"/>
              <a:t>OICA agreed to bring </a:t>
            </a:r>
            <a:r>
              <a:rPr lang="en-US" sz="2000" b="1" dirty="0"/>
              <a:t>proposals for </a:t>
            </a:r>
            <a:br>
              <a:rPr lang="en-US" sz="2000" b="1" dirty="0"/>
            </a:br>
            <a:r>
              <a:rPr lang="en-US" sz="2000" b="1" dirty="0"/>
              <a:t>including EV under UN R51.03 Annex 7 </a:t>
            </a:r>
            <a:br>
              <a:rPr lang="en-US" sz="2000" dirty="0"/>
            </a:br>
            <a:r>
              <a:rPr lang="en-US" sz="2000" dirty="0"/>
              <a:t>(Working Document expected for 80</a:t>
            </a:r>
            <a:r>
              <a:rPr lang="en-US" sz="2000" baseline="30000" dirty="0"/>
              <a:t>th</a:t>
            </a:r>
            <a:r>
              <a:rPr lang="en-US" sz="2000" dirty="0"/>
              <a:t> GRBP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96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A5AEB9F-DA0E-8F95-33FB-EB707E2905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156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5AEB9F-DA0E-8F95-33FB-EB707E290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dirty="0"/>
              <a:t>Output of TF Quiet Road Transport Vehicle</a:t>
            </a:r>
            <a:br>
              <a:rPr lang="en-US" sz="3600" dirty="0"/>
            </a:br>
            <a:r>
              <a:rPr lang="en-US" sz="2800" dirty="0"/>
              <a:t>Documents presented in 79</a:t>
            </a:r>
            <a:r>
              <a:rPr lang="en-US" sz="2800" baseline="30000" dirty="0"/>
              <a:t>th</a:t>
            </a:r>
            <a:r>
              <a:rPr lang="en-US" sz="2800" dirty="0"/>
              <a:t> GRBP</a:t>
            </a:r>
            <a:endParaRPr lang="en-US" sz="36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b="1" dirty="0"/>
              <a:t>New Document </a:t>
            </a:r>
            <a:r>
              <a:rPr lang="en-US" sz="2400" b="1" dirty="0">
                <a:solidFill>
                  <a:schemeClr val="accent2"/>
                </a:solidFill>
              </a:rPr>
              <a:t>GRBP-79-34</a:t>
            </a:r>
          </a:p>
          <a:p>
            <a:r>
              <a:rPr lang="en-US" sz="2000" dirty="0"/>
              <a:t>ISO proposals (</a:t>
            </a:r>
            <a:r>
              <a:rPr lang="en-US" sz="2000" dirty="0">
                <a:solidFill>
                  <a:schemeClr val="accent2"/>
                </a:solidFill>
              </a:rPr>
              <a:t>GRBP-79-30</a:t>
            </a:r>
            <a:r>
              <a:rPr lang="en-US" sz="2000" dirty="0"/>
              <a:t>) have been incorporated.</a:t>
            </a:r>
          </a:p>
          <a:p>
            <a:r>
              <a:rPr lang="en-US" sz="2000" b="1" dirty="0"/>
              <a:t>Agreed direction </a:t>
            </a:r>
            <a:r>
              <a:rPr lang="en-US" sz="2000" dirty="0"/>
              <a:t>as of TF-QRTV #10 has been </a:t>
            </a:r>
            <a:r>
              <a:rPr lang="en-US" sz="2000" b="1" dirty="0"/>
              <a:t>modified by some Contracting Parties only</a:t>
            </a:r>
            <a:r>
              <a:rPr lang="en-US" sz="2000" dirty="0"/>
              <a:t>:</a:t>
            </a:r>
          </a:p>
          <a:p>
            <a:pPr lvl="1"/>
            <a:r>
              <a:rPr lang="en-US" sz="2000" b="1" dirty="0"/>
              <a:t>Handshake</a:t>
            </a:r>
            <a:r>
              <a:rPr lang="en-US" sz="2000" dirty="0"/>
              <a:t> to UN R51 </a:t>
            </a:r>
            <a:r>
              <a:rPr lang="en-US" sz="2000" b="1" dirty="0"/>
              <a:t>has been deleted</a:t>
            </a:r>
            <a:r>
              <a:rPr lang="en-US" sz="2000" dirty="0"/>
              <a:t>.</a:t>
            </a:r>
          </a:p>
          <a:p>
            <a:pPr lvl="1"/>
            <a:r>
              <a:rPr lang="en-US" sz="2000" b="1" dirty="0"/>
              <a:t>New Requirements </a:t>
            </a:r>
            <a:r>
              <a:rPr lang="en-US" sz="2000" dirty="0"/>
              <a:t>to limit and forbid any “non-natural” sound.</a:t>
            </a:r>
          </a:p>
          <a:p>
            <a:endParaRPr lang="en-US" sz="1600" b="1" dirty="0">
              <a:solidFill>
                <a:srgbClr val="0000FF"/>
              </a:solidFill>
            </a:endParaRPr>
          </a:p>
          <a:p>
            <a:r>
              <a:rPr lang="en-US" sz="2400" b="1" dirty="0">
                <a:solidFill>
                  <a:schemeClr val="accent2"/>
                </a:solidFill>
              </a:rPr>
              <a:t>Document GRBP-79-34 - (TF QRTV) Proposal to amend ECE/TRANS/WP.29/GRBP/2024/2</a:t>
            </a:r>
          </a:p>
          <a:p>
            <a:pPr lvl="1"/>
            <a:r>
              <a:rPr lang="en-US" sz="2000" dirty="0"/>
              <a:t>was created by some Contracting Parties only without any input/attendance of NGOs. </a:t>
            </a:r>
          </a:p>
          <a:p>
            <a:pPr lvl="1"/>
            <a:r>
              <a:rPr lang="en-US" sz="2000" dirty="0"/>
              <a:t>brings back the concerns already expressed by OICA </a:t>
            </a:r>
            <a:br>
              <a:rPr lang="en-US" sz="2000" dirty="0"/>
            </a:br>
            <a:r>
              <a:rPr lang="en-US" sz="1800" dirty="0"/>
              <a:t>(TF-QRTV-10-03 OICA concerns on draft UNR138-02)</a:t>
            </a:r>
          </a:p>
          <a:p>
            <a:pPr lvl="1"/>
            <a:r>
              <a:rPr lang="en-US" sz="2000" b="1" dirty="0">
                <a:solidFill>
                  <a:schemeClr val="accent2"/>
                </a:solidFill>
              </a:rPr>
              <a:t>is therefore not an output of TF QRTV! </a:t>
            </a:r>
            <a:endParaRPr lang="en-US" sz="2400" b="1" dirty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sz="2400" b="1" dirty="0">
              <a:solidFill>
                <a:srgbClr val="0000FF"/>
              </a:solidFill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115728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58B47A-6A5E-9E7E-5C2D-471D7EE7B2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481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58B47A-6A5E-9E7E-5C2D-471D7EE7B2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0D7595D9-36A0-C517-54F1-FB132E34D7E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2059198"/>
            <a:ext cx="6839211" cy="4008328"/>
          </a:xfrm>
          <a:prstGeom prst="rect">
            <a:avLst/>
          </a:prstGeom>
        </p:spPr>
      </p:pic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2B153112-38B5-C691-9AF5-04B24CC3D1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4079741"/>
              </p:ext>
            </p:extLst>
          </p:nvPr>
        </p:nvGraphicFramePr>
        <p:xfrm>
          <a:off x="609600" y="1543362"/>
          <a:ext cx="7632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02D4F80-E677-077C-4CA9-60CCB8119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dirty="0"/>
              <a:t>Classification of EV’s Sound Emission </a:t>
            </a:r>
            <a:br>
              <a:rPr lang="en-US" sz="3600" dirty="0"/>
            </a:br>
            <a:r>
              <a:rPr lang="en-US" sz="2800" dirty="0"/>
              <a:t>ASEP Database compared with EMISIA and TF QRTV Limits</a:t>
            </a:r>
            <a:endParaRPr lang="en-US" sz="360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3BD0EAD-2E61-63A3-AA49-EF64F68210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26799" y="1600201"/>
            <a:ext cx="3355602" cy="4525963"/>
          </a:xfrm>
        </p:spPr>
        <p:txBody>
          <a:bodyPr/>
          <a:lstStyle/>
          <a:p>
            <a:r>
              <a:rPr lang="en-US" sz="2000" dirty="0"/>
              <a:t>ASEP Database shows a wide spread of vehicle sound emission during all driving conditions.</a:t>
            </a:r>
          </a:p>
          <a:p>
            <a:r>
              <a:rPr lang="en-US" sz="2000" dirty="0"/>
              <a:t>EMISIA-Study by EC confirmed: </a:t>
            </a:r>
            <a:br>
              <a:rPr lang="en-US" sz="2000" dirty="0"/>
            </a:br>
            <a:r>
              <a:rPr lang="en-US" sz="2000" b="1" dirty="0"/>
              <a:t>Sound pressure levels lower than or equal to </a:t>
            </a:r>
            <a:br>
              <a:rPr lang="en-US" sz="2000" b="1" dirty="0"/>
            </a:br>
            <a:r>
              <a:rPr lang="en-US" sz="2000" b="1" dirty="0"/>
              <a:t>75 dB(A)</a:t>
            </a:r>
            <a:r>
              <a:rPr lang="en-US" sz="2000" b="1" baseline="30000" dirty="0"/>
              <a:t>*</a:t>
            </a:r>
            <a:r>
              <a:rPr lang="en-US" sz="2000" b="1" dirty="0"/>
              <a:t> are no subject of concern!</a:t>
            </a:r>
          </a:p>
          <a:p>
            <a:endParaRPr lang="en-US" sz="2000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80C31457-7320-474C-F941-385FD985DBEE}"/>
              </a:ext>
            </a:extLst>
          </p:cNvPr>
          <p:cNvGrpSpPr/>
          <p:nvPr/>
        </p:nvGrpSpPr>
        <p:grpSpPr>
          <a:xfrm>
            <a:off x="6082935" y="2204864"/>
            <a:ext cx="1910507" cy="369332"/>
            <a:chOff x="613833" y="252882"/>
            <a:chExt cx="2388134" cy="461666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6F080464-1720-9304-A316-5AC094FB8565}"/>
                </a:ext>
              </a:extLst>
            </p:cNvPr>
            <p:cNvSpPr/>
            <p:nvPr/>
          </p:nvSpPr>
          <p:spPr>
            <a:xfrm>
              <a:off x="613833" y="252882"/>
              <a:ext cx="2357966" cy="46166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EED16D63-96BA-752E-51D3-CB97DC9DEBA0}"/>
                </a:ext>
              </a:extLst>
            </p:cNvPr>
            <p:cNvSpPr txBox="1"/>
            <p:nvPr/>
          </p:nvSpPr>
          <p:spPr>
            <a:xfrm>
              <a:off x="935696" y="252882"/>
              <a:ext cx="2066271" cy="461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>
                  <a:latin typeface="Arial Narrow" panose="020B0606020202030204" pitchFamily="34" charset="0"/>
                </a:rPr>
                <a:t>Vehicle Sound Emission 2007</a:t>
              </a:r>
            </a:p>
            <a:p>
              <a:r>
                <a:rPr lang="en-US" sz="900">
                  <a:latin typeface="Arial Narrow" panose="020B0606020202030204" pitchFamily="34" charset="0"/>
                </a:rPr>
                <a:t>ASEP DB - IWG ASEP 2005-2010</a:t>
              </a:r>
              <a:endParaRPr lang="en-US" sz="900" dirty="0">
                <a:latin typeface="Arial Narrow" panose="020B0606020202030204" pitchFamily="34" charset="0"/>
              </a:endParaRPr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331C986-EE78-7307-90FF-C32E69F45F4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19666" y="406439"/>
              <a:ext cx="190309" cy="209736"/>
              <a:chOff x="546100" y="212090"/>
              <a:chExt cx="105727" cy="116520"/>
            </a:xfrm>
          </p:grpSpPr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84963F32-FA9F-2752-463A-63669CA5FA23}"/>
                  </a:ext>
                </a:extLst>
              </p:cNvPr>
              <p:cNvSpPr/>
              <p:nvPr/>
            </p:nvSpPr>
            <p:spPr>
              <a:xfrm>
                <a:off x="546100" y="234950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980FF3D2-8622-D548-0860-24E876895055}"/>
                  </a:ext>
                </a:extLst>
              </p:cNvPr>
              <p:cNvSpPr/>
              <p:nvPr/>
            </p:nvSpPr>
            <p:spPr>
              <a:xfrm>
                <a:off x="568959" y="212090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A1912521-579C-3D2F-4C29-0C53C1CB7535}"/>
                  </a:ext>
                </a:extLst>
              </p:cNvPr>
              <p:cNvSpPr/>
              <p:nvPr/>
            </p:nvSpPr>
            <p:spPr>
              <a:xfrm>
                <a:off x="591818" y="264794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6" name="Ellipse 15">
                <a:extLst>
                  <a:ext uri="{FF2B5EF4-FFF2-40B4-BE49-F238E27FC236}">
                    <a16:creationId xmlns:a16="http://schemas.microsoft.com/office/drawing/2014/main" id="{BA30362D-DBD5-A527-180B-48A062DA41E8}"/>
                  </a:ext>
                </a:extLst>
              </p:cNvPr>
              <p:cNvSpPr/>
              <p:nvPr/>
            </p:nvSpPr>
            <p:spPr>
              <a:xfrm>
                <a:off x="554669" y="282891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Ellipse 16">
                <a:extLst>
                  <a:ext uri="{FF2B5EF4-FFF2-40B4-BE49-F238E27FC236}">
                    <a16:creationId xmlns:a16="http://schemas.microsoft.com/office/drawing/2014/main" id="{F3AD0708-3052-D742-D30D-F548C6D821CA}"/>
                  </a:ext>
                </a:extLst>
              </p:cNvPr>
              <p:cNvSpPr/>
              <p:nvPr/>
            </p:nvSpPr>
            <p:spPr>
              <a:xfrm>
                <a:off x="606108" y="221138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5A1F1525-60A6-BE8D-4709-C2D0AC12A82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688288" y="6019879"/>
            <a:ext cx="2894112" cy="29084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1050" dirty="0"/>
              <a:t>* Regarding UN R51.03 Annex 7 at 7.5m distance in the control range of Annex 7</a:t>
            </a:r>
          </a:p>
        </p:txBody>
      </p:sp>
    </p:spTree>
    <p:extLst>
      <p:ext uri="{BB962C8B-B14F-4D97-AF65-F5344CB8AC3E}">
        <p14:creationId xmlns:p14="http://schemas.microsoft.com/office/powerpoint/2010/main" val="1495785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58B47A-6A5E-9E7E-5C2D-471D7EE7B2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039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58B47A-6A5E-9E7E-5C2D-471D7EE7B2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0D7595D9-36A0-C517-54F1-FB132E34D7E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2059198"/>
            <a:ext cx="6839211" cy="4008328"/>
          </a:xfrm>
          <a:prstGeom prst="rect">
            <a:avLst/>
          </a:prstGeom>
        </p:spPr>
      </p:pic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2B153112-38B5-C691-9AF5-04B24CC3D16F}"/>
              </a:ext>
            </a:extLst>
          </p:cNvPr>
          <p:cNvGraphicFramePr>
            <a:graphicFrameLocks/>
          </p:cNvGraphicFramePr>
          <p:nvPr/>
        </p:nvGraphicFramePr>
        <p:xfrm>
          <a:off x="609600" y="1543362"/>
          <a:ext cx="7632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02D4F80-E677-077C-4CA9-60CCB8119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dirty="0"/>
              <a:t>Classification of EV’s Sound Emission </a:t>
            </a:r>
            <a:br>
              <a:rPr lang="en-US" sz="3600" dirty="0"/>
            </a:br>
            <a:r>
              <a:rPr lang="en-US" sz="2800" dirty="0"/>
              <a:t>Electric vehicles have no need for stricter limits!</a:t>
            </a:r>
            <a:endParaRPr lang="en-US" sz="3600" dirty="0"/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9794A835-FFC5-8CE4-38FE-E472373B32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3916251"/>
              </p:ext>
            </p:extLst>
          </p:nvPr>
        </p:nvGraphicFramePr>
        <p:xfrm>
          <a:off x="609600" y="1543362"/>
          <a:ext cx="7632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80C31457-7320-474C-F941-385FD985DBEE}"/>
              </a:ext>
            </a:extLst>
          </p:cNvPr>
          <p:cNvGrpSpPr/>
          <p:nvPr/>
        </p:nvGrpSpPr>
        <p:grpSpPr>
          <a:xfrm>
            <a:off x="6082935" y="2204864"/>
            <a:ext cx="1910507" cy="369332"/>
            <a:chOff x="613833" y="252882"/>
            <a:chExt cx="2388134" cy="461666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6F080464-1720-9304-A316-5AC094FB8565}"/>
                </a:ext>
              </a:extLst>
            </p:cNvPr>
            <p:cNvSpPr/>
            <p:nvPr/>
          </p:nvSpPr>
          <p:spPr>
            <a:xfrm>
              <a:off x="613833" y="252882"/>
              <a:ext cx="2357966" cy="46166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EED16D63-96BA-752E-51D3-CB97DC9DEBA0}"/>
                </a:ext>
              </a:extLst>
            </p:cNvPr>
            <p:cNvSpPr txBox="1"/>
            <p:nvPr/>
          </p:nvSpPr>
          <p:spPr>
            <a:xfrm>
              <a:off x="935696" y="252882"/>
              <a:ext cx="2066271" cy="461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>
                  <a:latin typeface="Arial Narrow" panose="020B0606020202030204" pitchFamily="34" charset="0"/>
                </a:rPr>
                <a:t>Vehicle Sound Emission 2007</a:t>
              </a:r>
            </a:p>
            <a:p>
              <a:r>
                <a:rPr lang="en-US" sz="900">
                  <a:latin typeface="Arial Narrow" panose="020B0606020202030204" pitchFamily="34" charset="0"/>
                </a:rPr>
                <a:t>ASEP DB - IWG ASEP 2005-2010</a:t>
              </a:r>
              <a:endParaRPr lang="en-US" sz="900" dirty="0">
                <a:latin typeface="Arial Narrow" panose="020B0606020202030204" pitchFamily="34" charset="0"/>
              </a:endParaRPr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331C986-EE78-7307-90FF-C32E69F45F4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19666" y="406439"/>
              <a:ext cx="190309" cy="209736"/>
              <a:chOff x="546100" y="212090"/>
              <a:chExt cx="105727" cy="116520"/>
            </a:xfrm>
          </p:grpSpPr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84963F32-FA9F-2752-463A-63669CA5FA23}"/>
                  </a:ext>
                </a:extLst>
              </p:cNvPr>
              <p:cNvSpPr/>
              <p:nvPr/>
            </p:nvSpPr>
            <p:spPr>
              <a:xfrm>
                <a:off x="546100" y="234950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980FF3D2-8622-D548-0860-24E876895055}"/>
                  </a:ext>
                </a:extLst>
              </p:cNvPr>
              <p:cNvSpPr/>
              <p:nvPr/>
            </p:nvSpPr>
            <p:spPr>
              <a:xfrm>
                <a:off x="568959" y="212090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A1912521-579C-3D2F-4C29-0C53C1CB7535}"/>
                  </a:ext>
                </a:extLst>
              </p:cNvPr>
              <p:cNvSpPr/>
              <p:nvPr/>
            </p:nvSpPr>
            <p:spPr>
              <a:xfrm>
                <a:off x="591818" y="264794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6" name="Ellipse 15">
                <a:extLst>
                  <a:ext uri="{FF2B5EF4-FFF2-40B4-BE49-F238E27FC236}">
                    <a16:creationId xmlns:a16="http://schemas.microsoft.com/office/drawing/2014/main" id="{BA30362D-DBD5-A527-180B-48A062DA41E8}"/>
                  </a:ext>
                </a:extLst>
              </p:cNvPr>
              <p:cNvSpPr/>
              <p:nvPr/>
            </p:nvSpPr>
            <p:spPr>
              <a:xfrm>
                <a:off x="554669" y="282891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Ellipse 16">
                <a:extLst>
                  <a:ext uri="{FF2B5EF4-FFF2-40B4-BE49-F238E27FC236}">
                    <a16:creationId xmlns:a16="http://schemas.microsoft.com/office/drawing/2014/main" id="{F3AD0708-3052-D742-D30D-F548C6D821CA}"/>
                  </a:ext>
                </a:extLst>
              </p:cNvPr>
              <p:cNvSpPr/>
              <p:nvPr/>
            </p:nvSpPr>
            <p:spPr>
              <a:xfrm>
                <a:off x="606108" y="221138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A3F67B2-9B55-057A-8052-873A5A920A1F}"/>
              </a:ext>
            </a:extLst>
          </p:cNvPr>
          <p:cNvGrpSpPr/>
          <p:nvPr/>
        </p:nvGrpSpPr>
        <p:grpSpPr>
          <a:xfrm>
            <a:off x="6083624" y="2572966"/>
            <a:ext cx="1904095" cy="369332"/>
            <a:chOff x="613833" y="252882"/>
            <a:chExt cx="2380120" cy="461666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D352E9C-42A1-EDA6-82A3-07C35BD46CCD}"/>
                </a:ext>
              </a:extLst>
            </p:cNvPr>
            <p:cNvSpPr/>
            <p:nvPr/>
          </p:nvSpPr>
          <p:spPr>
            <a:xfrm>
              <a:off x="613833" y="252882"/>
              <a:ext cx="2357966" cy="46166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101AE426-451D-95A9-1275-CCA32621EB58}"/>
                </a:ext>
              </a:extLst>
            </p:cNvPr>
            <p:cNvSpPr txBox="1"/>
            <p:nvPr/>
          </p:nvSpPr>
          <p:spPr>
            <a:xfrm>
              <a:off x="935696" y="252882"/>
              <a:ext cx="2058257" cy="461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latin typeface="Arial Narrow" panose="020B0606020202030204" pitchFamily="34" charset="0"/>
                </a:rPr>
                <a:t>Test Data of only Electric Vehicles </a:t>
              </a:r>
              <a:br>
                <a:rPr lang="en-US" sz="900" dirty="0">
                  <a:latin typeface="Arial Narrow" panose="020B0606020202030204" pitchFamily="34" charset="0"/>
                </a:rPr>
              </a:br>
              <a:r>
                <a:rPr lang="en-US" sz="900" dirty="0">
                  <a:latin typeface="Arial Narrow" panose="020B0606020202030204" pitchFamily="34" charset="0"/>
                </a:rPr>
                <a:t>2020-2023</a:t>
              </a:r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F714173F-4351-B444-994C-376BE94E5B9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19665" y="406439"/>
              <a:ext cx="190311" cy="209736"/>
              <a:chOff x="546099" y="212090"/>
              <a:chExt cx="105728" cy="116520"/>
            </a:xfrm>
          </p:grpSpPr>
          <p:sp>
            <p:nvSpPr>
              <p:cNvPr id="23" name="Ellipse 22">
                <a:extLst>
                  <a:ext uri="{FF2B5EF4-FFF2-40B4-BE49-F238E27FC236}">
                    <a16:creationId xmlns:a16="http://schemas.microsoft.com/office/drawing/2014/main" id="{86905012-03C0-5C79-20FD-6985F926E261}"/>
                  </a:ext>
                </a:extLst>
              </p:cNvPr>
              <p:cNvSpPr/>
              <p:nvPr/>
            </p:nvSpPr>
            <p:spPr>
              <a:xfrm>
                <a:off x="546099" y="234950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B3B34F51-9884-74E4-2F3A-67F8B6BDECA4}"/>
                  </a:ext>
                </a:extLst>
              </p:cNvPr>
              <p:cNvSpPr/>
              <p:nvPr/>
            </p:nvSpPr>
            <p:spPr>
              <a:xfrm>
                <a:off x="568959" y="212090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5" name="Ellipse 24">
                <a:extLst>
                  <a:ext uri="{FF2B5EF4-FFF2-40B4-BE49-F238E27FC236}">
                    <a16:creationId xmlns:a16="http://schemas.microsoft.com/office/drawing/2014/main" id="{CE26114E-B1DA-D97E-4A17-EC75F7EA4BA8}"/>
                  </a:ext>
                </a:extLst>
              </p:cNvPr>
              <p:cNvSpPr/>
              <p:nvPr/>
            </p:nvSpPr>
            <p:spPr>
              <a:xfrm>
                <a:off x="591818" y="264794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6" name="Ellipse 25">
                <a:extLst>
                  <a:ext uri="{FF2B5EF4-FFF2-40B4-BE49-F238E27FC236}">
                    <a16:creationId xmlns:a16="http://schemas.microsoft.com/office/drawing/2014/main" id="{0EF3A3AB-3A25-61F5-AF3E-0B5DBDFCF3C6}"/>
                  </a:ext>
                </a:extLst>
              </p:cNvPr>
              <p:cNvSpPr/>
              <p:nvPr/>
            </p:nvSpPr>
            <p:spPr>
              <a:xfrm>
                <a:off x="554669" y="282891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3BB805AF-5244-0F63-5A7A-C3114E039700}"/>
                  </a:ext>
                </a:extLst>
              </p:cNvPr>
              <p:cNvSpPr/>
              <p:nvPr/>
            </p:nvSpPr>
            <p:spPr>
              <a:xfrm>
                <a:off x="606108" y="221138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4ADEF1FB-4DBB-FF60-C5EF-1E1772B7C2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26799" y="1600201"/>
            <a:ext cx="3355602" cy="4525963"/>
          </a:xfrm>
        </p:spPr>
        <p:txBody>
          <a:bodyPr/>
          <a:lstStyle/>
          <a:p>
            <a:r>
              <a:rPr lang="en-US" sz="2000" dirty="0"/>
              <a:t>EVs are </a:t>
            </a:r>
            <a:r>
              <a:rPr lang="en-US" sz="2000" b="1" dirty="0"/>
              <a:t>substantially below the quietest vehicle </a:t>
            </a:r>
            <a:r>
              <a:rPr lang="en-US" sz="2000" dirty="0"/>
              <a:t>that have been used during the ASEP development work of the years 2005-2010.</a:t>
            </a:r>
          </a:p>
          <a:p>
            <a:r>
              <a:rPr lang="en-US" sz="2000" dirty="0"/>
              <a:t>Even when equipped </a:t>
            </a:r>
            <a:r>
              <a:rPr lang="en-US" sz="2000" b="1" dirty="0"/>
              <a:t>with sound enhance-</a:t>
            </a:r>
            <a:r>
              <a:rPr lang="en-US" sz="2000" b="1" dirty="0" err="1"/>
              <a:t>ment</a:t>
            </a:r>
            <a:r>
              <a:rPr lang="en-US" sz="2000" b="1" dirty="0"/>
              <a:t> systems</a:t>
            </a:r>
            <a:r>
              <a:rPr lang="en-US" sz="2000" dirty="0"/>
              <a:t> operating beyond the scope of </a:t>
            </a:r>
            <a:br>
              <a:rPr lang="en-US" sz="2000" dirty="0"/>
            </a:br>
            <a:r>
              <a:rPr lang="en-US" sz="2000" dirty="0"/>
              <a:t>UN R138.01</a:t>
            </a:r>
          </a:p>
          <a:p>
            <a:r>
              <a:rPr lang="en-US" sz="2000" dirty="0"/>
              <a:t>OICA sees </a:t>
            </a:r>
            <a:r>
              <a:rPr lang="en-US" sz="2000" b="1" dirty="0"/>
              <a:t>no need for such stringent cutting of AVAS sound</a:t>
            </a:r>
            <a:r>
              <a:rPr lang="en-US" sz="2000" dirty="0"/>
              <a:t>!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8672803-AFC6-3B8E-C450-C35EF57C50B9}"/>
              </a:ext>
            </a:extLst>
          </p:cNvPr>
          <p:cNvCxnSpPr>
            <a:cxnSpLocks/>
          </p:cNvCxnSpPr>
          <p:nvPr/>
        </p:nvCxnSpPr>
        <p:spPr>
          <a:xfrm>
            <a:off x="2567608" y="4064372"/>
            <a:ext cx="4104456" cy="0"/>
          </a:xfrm>
          <a:prstGeom prst="line">
            <a:avLst/>
          </a:prstGeom>
          <a:ln w="28575">
            <a:solidFill>
              <a:srgbClr val="FFC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4946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Graphic spid="4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58B47A-6A5E-9E7E-5C2D-471D7EE7B2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145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58B47A-6A5E-9E7E-5C2D-471D7EE7B2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0D7595D9-36A0-C517-54F1-FB132E34D7E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2059198"/>
            <a:ext cx="6839211" cy="4008328"/>
          </a:xfrm>
          <a:prstGeom prst="rect">
            <a:avLst/>
          </a:prstGeom>
        </p:spPr>
      </p:pic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2B153112-38B5-C691-9AF5-04B24CC3D16F}"/>
              </a:ext>
            </a:extLst>
          </p:cNvPr>
          <p:cNvGraphicFramePr>
            <a:graphicFrameLocks/>
          </p:cNvGraphicFramePr>
          <p:nvPr/>
        </p:nvGraphicFramePr>
        <p:xfrm>
          <a:off x="609600" y="1543362"/>
          <a:ext cx="7632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02D4F80-E677-077C-4CA9-60CCB8119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dirty="0"/>
              <a:t>Classification of the Sound Emission </a:t>
            </a:r>
            <a:br>
              <a:rPr lang="en-US" sz="3600" dirty="0"/>
            </a:br>
            <a:r>
              <a:rPr lang="en-US" sz="2800" dirty="0"/>
              <a:t>Maximum sound limits shall not jeopardize safe minimum sound!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9794A835-FFC5-8CE4-38FE-E472373B32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611044"/>
              </p:ext>
            </p:extLst>
          </p:nvPr>
        </p:nvGraphicFramePr>
        <p:xfrm>
          <a:off x="609600" y="1543362"/>
          <a:ext cx="7632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80C31457-7320-474C-F941-385FD985DBEE}"/>
              </a:ext>
            </a:extLst>
          </p:cNvPr>
          <p:cNvGrpSpPr/>
          <p:nvPr/>
        </p:nvGrpSpPr>
        <p:grpSpPr>
          <a:xfrm>
            <a:off x="6082935" y="2204864"/>
            <a:ext cx="1910507" cy="369332"/>
            <a:chOff x="613833" y="252882"/>
            <a:chExt cx="2388134" cy="461666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6F080464-1720-9304-A316-5AC094FB8565}"/>
                </a:ext>
              </a:extLst>
            </p:cNvPr>
            <p:cNvSpPr/>
            <p:nvPr/>
          </p:nvSpPr>
          <p:spPr>
            <a:xfrm>
              <a:off x="613833" y="252882"/>
              <a:ext cx="2357966" cy="46166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EED16D63-96BA-752E-51D3-CB97DC9DEBA0}"/>
                </a:ext>
              </a:extLst>
            </p:cNvPr>
            <p:cNvSpPr txBox="1"/>
            <p:nvPr/>
          </p:nvSpPr>
          <p:spPr>
            <a:xfrm>
              <a:off x="935696" y="252882"/>
              <a:ext cx="2066271" cy="461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>
                  <a:latin typeface="Arial Narrow" panose="020B0606020202030204" pitchFamily="34" charset="0"/>
                </a:rPr>
                <a:t>Vehicle Sound Emission 2007</a:t>
              </a:r>
            </a:p>
            <a:p>
              <a:r>
                <a:rPr lang="en-US" sz="900">
                  <a:latin typeface="Arial Narrow" panose="020B0606020202030204" pitchFamily="34" charset="0"/>
                </a:rPr>
                <a:t>ASEP DB - IWG ASEP 2005-2010</a:t>
              </a:r>
              <a:endParaRPr lang="en-US" sz="900" dirty="0">
                <a:latin typeface="Arial Narrow" panose="020B0606020202030204" pitchFamily="34" charset="0"/>
              </a:endParaRPr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331C986-EE78-7307-90FF-C32E69F45F4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19666" y="406439"/>
              <a:ext cx="190309" cy="209736"/>
              <a:chOff x="546100" y="212090"/>
              <a:chExt cx="105727" cy="116520"/>
            </a:xfrm>
          </p:grpSpPr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84963F32-FA9F-2752-463A-63669CA5FA23}"/>
                  </a:ext>
                </a:extLst>
              </p:cNvPr>
              <p:cNvSpPr/>
              <p:nvPr/>
            </p:nvSpPr>
            <p:spPr>
              <a:xfrm>
                <a:off x="546100" y="234950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980FF3D2-8622-D548-0860-24E876895055}"/>
                  </a:ext>
                </a:extLst>
              </p:cNvPr>
              <p:cNvSpPr/>
              <p:nvPr/>
            </p:nvSpPr>
            <p:spPr>
              <a:xfrm>
                <a:off x="568959" y="212090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A1912521-579C-3D2F-4C29-0C53C1CB7535}"/>
                  </a:ext>
                </a:extLst>
              </p:cNvPr>
              <p:cNvSpPr/>
              <p:nvPr/>
            </p:nvSpPr>
            <p:spPr>
              <a:xfrm>
                <a:off x="591818" y="264794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6" name="Ellipse 15">
                <a:extLst>
                  <a:ext uri="{FF2B5EF4-FFF2-40B4-BE49-F238E27FC236}">
                    <a16:creationId xmlns:a16="http://schemas.microsoft.com/office/drawing/2014/main" id="{BA30362D-DBD5-A527-180B-48A062DA41E8}"/>
                  </a:ext>
                </a:extLst>
              </p:cNvPr>
              <p:cNvSpPr/>
              <p:nvPr/>
            </p:nvSpPr>
            <p:spPr>
              <a:xfrm>
                <a:off x="554669" y="282891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Ellipse 16">
                <a:extLst>
                  <a:ext uri="{FF2B5EF4-FFF2-40B4-BE49-F238E27FC236}">
                    <a16:creationId xmlns:a16="http://schemas.microsoft.com/office/drawing/2014/main" id="{F3AD0708-3052-D742-D30D-F548C6D821CA}"/>
                  </a:ext>
                </a:extLst>
              </p:cNvPr>
              <p:cNvSpPr/>
              <p:nvPr/>
            </p:nvSpPr>
            <p:spPr>
              <a:xfrm>
                <a:off x="606108" y="221138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A3F67B2-9B55-057A-8052-873A5A920A1F}"/>
              </a:ext>
            </a:extLst>
          </p:cNvPr>
          <p:cNvGrpSpPr/>
          <p:nvPr/>
        </p:nvGrpSpPr>
        <p:grpSpPr>
          <a:xfrm>
            <a:off x="6083624" y="2572966"/>
            <a:ext cx="1904095" cy="369332"/>
            <a:chOff x="613833" y="252882"/>
            <a:chExt cx="2380120" cy="461666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D352E9C-42A1-EDA6-82A3-07C35BD46CCD}"/>
                </a:ext>
              </a:extLst>
            </p:cNvPr>
            <p:cNvSpPr/>
            <p:nvPr/>
          </p:nvSpPr>
          <p:spPr>
            <a:xfrm>
              <a:off x="613833" y="252882"/>
              <a:ext cx="2357966" cy="46166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101AE426-451D-95A9-1275-CCA32621EB58}"/>
                </a:ext>
              </a:extLst>
            </p:cNvPr>
            <p:cNvSpPr txBox="1"/>
            <p:nvPr/>
          </p:nvSpPr>
          <p:spPr>
            <a:xfrm>
              <a:off x="935696" y="252882"/>
              <a:ext cx="2058257" cy="461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latin typeface="Arial Narrow" panose="020B0606020202030204" pitchFamily="34" charset="0"/>
                </a:rPr>
                <a:t>Test Data of only Electric Vehicles </a:t>
              </a:r>
              <a:br>
                <a:rPr lang="en-US" sz="900" dirty="0">
                  <a:latin typeface="Arial Narrow" panose="020B0606020202030204" pitchFamily="34" charset="0"/>
                </a:rPr>
              </a:br>
              <a:r>
                <a:rPr lang="en-US" sz="900" dirty="0">
                  <a:latin typeface="Arial Narrow" panose="020B0606020202030204" pitchFamily="34" charset="0"/>
                </a:rPr>
                <a:t>2020-2023</a:t>
              </a:r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F714173F-4351-B444-994C-376BE94E5B9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19665" y="406439"/>
              <a:ext cx="190311" cy="209736"/>
              <a:chOff x="546099" y="212090"/>
              <a:chExt cx="105728" cy="116520"/>
            </a:xfrm>
          </p:grpSpPr>
          <p:sp>
            <p:nvSpPr>
              <p:cNvPr id="23" name="Ellipse 22">
                <a:extLst>
                  <a:ext uri="{FF2B5EF4-FFF2-40B4-BE49-F238E27FC236}">
                    <a16:creationId xmlns:a16="http://schemas.microsoft.com/office/drawing/2014/main" id="{86905012-03C0-5C79-20FD-6985F926E261}"/>
                  </a:ext>
                </a:extLst>
              </p:cNvPr>
              <p:cNvSpPr/>
              <p:nvPr/>
            </p:nvSpPr>
            <p:spPr>
              <a:xfrm>
                <a:off x="546099" y="234950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B3B34F51-9884-74E4-2F3A-67F8B6BDECA4}"/>
                  </a:ext>
                </a:extLst>
              </p:cNvPr>
              <p:cNvSpPr/>
              <p:nvPr/>
            </p:nvSpPr>
            <p:spPr>
              <a:xfrm>
                <a:off x="568959" y="212090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5" name="Ellipse 24">
                <a:extLst>
                  <a:ext uri="{FF2B5EF4-FFF2-40B4-BE49-F238E27FC236}">
                    <a16:creationId xmlns:a16="http://schemas.microsoft.com/office/drawing/2014/main" id="{CE26114E-B1DA-D97E-4A17-EC75F7EA4BA8}"/>
                  </a:ext>
                </a:extLst>
              </p:cNvPr>
              <p:cNvSpPr/>
              <p:nvPr/>
            </p:nvSpPr>
            <p:spPr>
              <a:xfrm>
                <a:off x="591818" y="264794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6" name="Ellipse 25">
                <a:extLst>
                  <a:ext uri="{FF2B5EF4-FFF2-40B4-BE49-F238E27FC236}">
                    <a16:creationId xmlns:a16="http://schemas.microsoft.com/office/drawing/2014/main" id="{0EF3A3AB-3A25-61F5-AF3E-0B5DBDFCF3C6}"/>
                  </a:ext>
                </a:extLst>
              </p:cNvPr>
              <p:cNvSpPr/>
              <p:nvPr/>
            </p:nvSpPr>
            <p:spPr>
              <a:xfrm>
                <a:off x="554669" y="282891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3BB805AF-5244-0F63-5A7A-C3114E039700}"/>
                  </a:ext>
                </a:extLst>
              </p:cNvPr>
              <p:cNvSpPr/>
              <p:nvPr/>
            </p:nvSpPr>
            <p:spPr>
              <a:xfrm>
                <a:off x="606108" y="221138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59101F2-8848-0C32-808B-D6D9E3ED8D15}"/>
              </a:ext>
            </a:extLst>
          </p:cNvPr>
          <p:cNvCxnSpPr>
            <a:cxnSpLocks/>
          </p:cNvCxnSpPr>
          <p:nvPr/>
        </p:nvCxnSpPr>
        <p:spPr>
          <a:xfrm>
            <a:off x="2567608" y="4064372"/>
            <a:ext cx="4104456" cy="0"/>
          </a:xfrm>
          <a:prstGeom prst="line">
            <a:avLst/>
          </a:prstGeom>
          <a:ln w="28575">
            <a:solidFill>
              <a:srgbClr val="FFC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F03757C2-27CB-7DF2-C326-F9AEEE3EA4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26798" y="1600201"/>
            <a:ext cx="3488952" cy="4525963"/>
          </a:xfrm>
        </p:spPr>
        <p:txBody>
          <a:bodyPr/>
          <a:lstStyle/>
          <a:p>
            <a:r>
              <a:rPr lang="en-US" sz="2000" b="1" dirty="0"/>
              <a:t>“Safe Minimum Sound” </a:t>
            </a:r>
            <a:r>
              <a:rPr lang="en-US" sz="1600" dirty="0">
                <a:solidFill>
                  <a:schemeClr val="accent2"/>
                </a:solidFill>
              </a:rPr>
              <a:t>(NHTSA scientific approach*) </a:t>
            </a:r>
            <a:r>
              <a:rPr lang="en-US" sz="2000" dirty="0"/>
              <a:t>with a safety margin of 6 dB is just reached by cruising EVs. </a:t>
            </a:r>
          </a:p>
          <a:p>
            <a:r>
              <a:rPr lang="en-US" sz="2000" dirty="0"/>
              <a:t>Higher</a:t>
            </a:r>
            <a:r>
              <a:rPr lang="en-US" sz="2000" b="1" dirty="0"/>
              <a:t> “Safe Minimum Sound” for </a:t>
            </a:r>
            <a:r>
              <a:rPr lang="en-US" sz="2000" dirty="0"/>
              <a:t>accelerating EVs needed </a:t>
            </a:r>
            <a:r>
              <a:rPr lang="en-US" sz="1200" dirty="0"/>
              <a:t>(see study </a:t>
            </a:r>
            <a:r>
              <a:rPr lang="en-US" sz="1200" dirty="0">
                <a:solidFill>
                  <a:schemeClr val="accent2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rception of electric vehicles with AVAS (udv.de)</a:t>
            </a:r>
            <a:r>
              <a:rPr lang="en-US" sz="1200" dirty="0">
                <a:solidFill>
                  <a:schemeClr val="accent2"/>
                </a:solidFill>
              </a:rPr>
              <a:t> </a:t>
            </a:r>
            <a:r>
              <a:rPr lang="en-US" sz="1200" dirty="0"/>
              <a:t>)</a:t>
            </a:r>
            <a:endParaRPr lang="de-DE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2000" dirty="0"/>
              <a:t>From 32 km/h proposed </a:t>
            </a:r>
            <a:r>
              <a:rPr lang="en-US" sz="2000" b="1" dirty="0"/>
              <a:t>cutting of AVAS sound will jeopardize a</a:t>
            </a:r>
            <a:br>
              <a:rPr lang="en-US" sz="2000" b="1" dirty="0"/>
            </a:br>
            <a:r>
              <a:rPr lang="en-US" sz="2000" b="1" dirty="0"/>
              <a:t>“Safe Minimum Sound”</a:t>
            </a:r>
            <a:endParaRPr lang="en-US" sz="2000" dirty="0"/>
          </a:p>
        </p:txBody>
      </p:sp>
      <p:sp>
        <p:nvSpPr>
          <p:cNvPr id="31" name="Inhaltsplatzhalter 2">
            <a:extLst>
              <a:ext uri="{FF2B5EF4-FFF2-40B4-BE49-F238E27FC236}">
                <a16:creationId xmlns:a16="http://schemas.microsoft.com/office/drawing/2014/main" id="{79E4B054-47D4-F42F-E06D-D7BAF36EC88E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679611" y="5727029"/>
            <a:ext cx="3038128" cy="5816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52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Courier New" panose="02070309020205020404" pitchFamily="49" charset="0"/>
              <a:buChar char="o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1050" dirty="0"/>
              <a:t>* described in and published with the </a:t>
            </a:r>
            <a:br>
              <a:rPr lang="en-US" sz="1050" dirty="0"/>
            </a:br>
            <a:r>
              <a:rPr lang="en-US" sz="1050" dirty="0"/>
              <a:t>New Proposal for Rule Making (NPRM) </a:t>
            </a:r>
            <a:br>
              <a:rPr lang="en-US" sz="1050" dirty="0"/>
            </a:br>
            <a:r>
              <a:rPr lang="en-US" sz="1050" dirty="0"/>
              <a:t>Docket No. NHTSA-2011-0148, RIN 2127-AK93, </a:t>
            </a:r>
            <a:br>
              <a:rPr lang="en-US" sz="1050" dirty="0"/>
            </a:br>
            <a:r>
              <a:rPr lang="en-US" sz="1050" dirty="0">
                <a:solidFill>
                  <a:schemeClr val="accent2"/>
                </a:solidFill>
              </a:rPr>
              <a:t>presented by OICA in TF-QRTV-08-03</a:t>
            </a:r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6C023432-58C0-F879-4F06-615061B134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5889974"/>
              </p:ext>
            </p:extLst>
          </p:nvPr>
        </p:nvGraphicFramePr>
        <p:xfrm>
          <a:off x="612000" y="1540800"/>
          <a:ext cx="7632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1029352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Graphic spid="4" grpId="0">
        <p:bldAsOne/>
      </p:bldGraphic>
      <p:bldGraphic spid="3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58B47A-6A5E-9E7E-5C2D-471D7EE7B2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68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58B47A-6A5E-9E7E-5C2D-471D7EE7B2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0D7595D9-36A0-C517-54F1-FB132E34D7E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2059198"/>
            <a:ext cx="6839211" cy="4008328"/>
          </a:xfrm>
          <a:prstGeom prst="rect">
            <a:avLst/>
          </a:prstGeom>
        </p:spPr>
      </p:pic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6EB3EC60-C0C6-1040-BBE3-5319523E20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3213645"/>
              </p:ext>
            </p:extLst>
          </p:nvPr>
        </p:nvGraphicFramePr>
        <p:xfrm>
          <a:off x="612000" y="1540800"/>
          <a:ext cx="7632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0" name="Diagramm 49">
            <a:extLst>
              <a:ext uri="{FF2B5EF4-FFF2-40B4-BE49-F238E27FC236}">
                <a16:creationId xmlns:a16="http://schemas.microsoft.com/office/drawing/2014/main" id="{ABD2DCCC-B44B-DBD0-0B2B-BE5D72CD56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8985322"/>
              </p:ext>
            </p:extLst>
          </p:nvPr>
        </p:nvGraphicFramePr>
        <p:xfrm>
          <a:off x="607200" y="1538238"/>
          <a:ext cx="7632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8" name="Diagramm 27">
            <a:extLst>
              <a:ext uri="{FF2B5EF4-FFF2-40B4-BE49-F238E27FC236}">
                <a16:creationId xmlns:a16="http://schemas.microsoft.com/office/drawing/2014/main" id="{1EFB059E-9D48-109C-BC0C-45AA5AFF37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3829427"/>
              </p:ext>
            </p:extLst>
          </p:nvPr>
        </p:nvGraphicFramePr>
        <p:xfrm>
          <a:off x="614400" y="1545924"/>
          <a:ext cx="7632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02D4F80-E677-077C-4CA9-60CCB8119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dirty="0"/>
              <a:t>Alternative Concept for Electric Vehicles</a:t>
            </a:r>
            <a:br>
              <a:rPr lang="en-US" sz="3600" dirty="0"/>
            </a:br>
            <a:r>
              <a:rPr lang="en-US" sz="2800" kern="0" dirty="0"/>
              <a:t>UN R51.03 Annex 7 ASEP provisions</a:t>
            </a:r>
            <a:endParaRPr lang="en-US" sz="3600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80C31457-7320-474C-F941-385FD985DBEE}"/>
              </a:ext>
            </a:extLst>
          </p:cNvPr>
          <p:cNvGrpSpPr/>
          <p:nvPr/>
        </p:nvGrpSpPr>
        <p:grpSpPr>
          <a:xfrm>
            <a:off x="6082935" y="2204864"/>
            <a:ext cx="1910507" cy="369332"/>
            <a:chOff x="613833" y="252882"/>
            <a:chExt cx="2388134" cy="461666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6F080464-1720-9304-A316-5AC094FB8565}"/>
                </a:ext>
              </a:extLst>
            </p:cNvPr>
            <p:cNvSpPr/>
            <p:nvPr/>
          </p:nvSpPr>
          <p:spPr>
            <a:xfrm>
              <a:off x="613833" y="252882"/>
              <a:ext cx="2357966" cy="46166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EED16D63-96BA-752E-51D3-CB97DC9DEBA0}"/>
                </a:ext>
              </a:extLst>
            </p:cNvPr>
            <p:cNvSpPr txBox="1"/>
            <p:nvPr/>
          </p:nvSpPr>
          <p:spPr>
            <a:xfrm>
              <a:off x="935696" y="252882"/>
              <a:ext cx="2066271" cy="461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>
                  <a:latin typeface="Arial Narrow" panose="020B0606020202030204" pitchFamily="34" charset="0"/>
                </a:rPr>
                <a:t>Vehicle Sound Emission 2007</a:t>
              </a:r>
            </a:p>
            <a:p>
              <a:r>
                <a:rPr lang="en-US" sz="900">
                  <a:latin typeface="Arial Narrow" panose="020B0606020202030204" pitchFamily="34" charset="0"/>
                </a:rPr>
                <a:t>ASEP DB - IWG ASEP 2005-2010</a:t>
              </a:r>
              <a:endParaRPr lang="en-US" sz="900" dirty="0">
                <a:latin typeface="Arial Narrow" panose="020B0606020202030204" pitchFamily="34" charset="0"/>
              </a:endParaRPr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331C986-EE78-7307-90FF-C32E69F45F4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19666" y="406439"/>
              <a:ext cx="190309" cy="209736"/>
              <a:chOff x="546100" y="212090"/>
              <a:chExt cx="105727" cy="116520"/>
            </a:xfrm>
          </p:grpSpPr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84963F32-FA9F-2752-463A-63669CA5FA23}"/>
                  </a:ext>
                </a:extLst>
              </p:cNvPr>
              <p:cNvSpPr/>
              <p:nvPr/>
            </p:nvSpPr>
            <p:spPr>
              <a:xfrm>
                <a:off x="546100" y="234950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980FF3D2-8622-D548-0860-24E876895055}"/>
                  </a:ext>
                </a:extLst>
              </p:cNvPr>
              <p:cNvSpPr/>
              <p:nvPr/>
            </p:nvSpPr>
            <p:spPr>
              <a:xfrm>
                <a:off x="568959" y="212090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A1912521-579C-3D2F-4C29-0C53C1CB7535}"/>
                  </a:ext>
                </a:extLst>
              </p:cNvPr>
              <p:cNvSpPr/>
              <p:nvPr/>
            </p:nvSpPr>
            <p:spPr>
              <a:xfrm>
                <a:off x="591818" y="264794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6" name="Ellipse 15">
                <a:extLst>
                  <a:ext uri="{FF2B5EF4-FFF2-40B4-BE49-F238E27FC236}">
                    <a16:creationId xmlns:a16="http://schemas.microsoft.com/office/drawing/2014/main" id="{BA30362D-DBD5-A527-180B-48A062DA41E8}"/>
                  </a:ext>
                </a:extLst>
              </p:cNvPr>
              <p:cNvSpPr/>
              <p:nvPr/>
            </p:nvSpPr>
            <p:spPr>
              <a:xfrm>
                <a:off x="554669" y="282891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Ellipse 16">
                <a:extLst>
                  <a:ext uri="{FF2B5EF4-FFF2-40B4-BE49-F238E27FC236}">
                    <a16:creationId xmlns:a16="http://schemas.microsoft.com/office/drawing/2014/main" id="{F3AD0708-3052-D742-D30D-F548C6D821CA}"/>
                  </a:ext>
                </a:extLst>
              </p:cNvPr>
              <p:cNvSpPr/>
              <p:nvPr/>
            </p:nvSpPr>
            <p:spPr>
              <a:xfrm>
                <a:off x="606108" y="221138"/>
                <a:ext cx="45719" cy="45719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bg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0A3F67B2-9B55-057A-8052-873A5A920A1F}"/>
              </a:ext>
            </a:extLst>
          </p:cNvPr>
          <p:cNvGrpSpPr/>
          <p:nvPr/>
        </p:nvGrpSpPr>
        <p:grpSpPr>
          <a:xfrm>
            <a:off x="6083624" y="2572966"/>
            <a:ext cx="1904095" cy="369332"/>
            <a:chOff x="613833" y="252882"/>
            <a:chExt cx="2380120" cy="461666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D352E9C-42A1-EDA6-82A3-07C35BD46CCD}"/>
                </a:ext>
              </a:extLst>
            </p:cNvPr>
            <p:cNvSpPr/>
            <p:nvPr/>
          </p:nvSpPr>
          <p:spPr>
            <a:xfrm>
              <a:off x="613833" y="252882"/>
              <a:ext cx="2357966" cy="46166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101AE426-451D-95A9-1275-CCA32621EB58}"/>
                </a:ext>
              </a:extLst>
            </p:cNvPr>
            <p:cNvSpPr txBox="1"/>
            <p:nvPr/>
          </p:nvSpPr>
          <p:spPr>
            <a:xfrm>
              <a:off x="935696" y="252882"/>
              <a:ext cx="2058257" cy="461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latin typeface="Arial Narrow" panose="020B0606020202030204" pitchFamily="34" charset="0"/>
                </a:rPr>
                <a:t>Test Data of only Electric Vehicles </a:t>
              </a:r>
              <a:br>
                <a:rPr lang="en-US" sz="900" dirty="0">
                  <a:latin typeface="Arial Narrow" panose="020B0606020202030204" pitchFamily="34" charset="0"/>
                </a:rPr>
              </a:br>
              <a:r>
                <a:rPr lang="en-US" sz="900" dirty="0">
                  <a:latin typeface="Arial Narrow" panose="020B0606020202030204" pitchFamily="34" charset="0"/>
                </a:rPr>
                <a:t>2020-2023</a:t>
              </a:r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F714173F-4351-B444-994C-376BE94E5B9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19665" y="406439"/>
              <a:ext cx="190311" cy="209736"/>
              <a:chOff x="546099" y="212090"/>
              <a:chExt cx="105728" cy="116520"/>
            </a:xfrm>
          </p:grpSpPr>
          <p:sp>
            <p:nvSpPr>
              <p:cNvPr id="23" name="Ellipse 22">
                <a:extLst>
                  <a:ext uri="{FF2B5EF4-FFF2-40B4-BE49-F238E27FC236}">
                    <a16:creationId xmlns:a16="http://schemas.microsoft.com/office/drawing/2014/main" id="{86905012-03C0-5C79-20FD-6985F926E261}"/>
                  </a:ext>
                </a:extLst>
              </p:cNvPr>
              <p:cNvSpPr/>
              <p:nvPr/>
            </p:nvSpPr>
            <p:spPr>
              <a:xfrm>
                <a:off x="546099" y="234950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B3B34F51-9884-74E4-2F3A-67F8B6BDECA4}"/>
                  </a:ext>
                </a:extLst>
              </p:cNvPr>
              <p:cNvSpPr/>
              <p:nvPr/>
            </p:nvSpPr>
            <p:spPr>
              <a:xfrm>
                <a:off x="568959" y="212090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5" name="Ellipse 24">
                <a:extLst>
                  <a:ext uri="{FF2B5EF4-FFF2-40B4-BE49-F238E27FC236}">
                    <a16:creationId xmlns:a16="http://schemas.microsoft.com/office/drawing/2014/main" id="{CE26114E-B1DA-D97E-4A17-EC75F7EA4BA8}"/>
                  </a:ext>
                </a:extLst>
              </p:cNvPr>
              <p:cNvSpPr/>
              <p:nvPr/>
            </p:nvSpPr>
            <p:spPr>
              <a:xfrm>
                <a:off x="591818" y="264794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6" name="Ellipse 25">
                <a:extLst>
                  <a:ext uri="{FF2B5EF4-FFF2-40B4-BE49-F238E27FC236}">
                    <a16:creationId xmlns:a16="http://schemas.microsoft.com/office/drawing/2014/main" id="{0EF3A3AB-3A25-61F5-AF3E-0B5DBDFCF3C6}"/>
                  </a:ext>
                </a:extLst>
              </p:cNvPr>
              <p:cNvSpPr/>
              <p:nvPr/>
            </p:nvSpPr>
            <p:spPr>
              <a:xfrm>
                <a:off x="554669" y="282891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3BB805AF-5244-0F63-5A7A-C3114E039700}"/>
                  </a:ext>
                </a:extLst>
              </p:cNvPr>
              <p:cNvSpPr/>
              <p:nvPr/>
            </p:nvSpPr>
            <p:spPr>
              <a:xfrm>
                <a:off x="606108" y="221138"/>
                <a:ext cx="45719" cy="45719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sp>
        <p:nvSpPr>
          <p:cNvPr id="41" name="Inhaltsplatzhalter 2">
            <a:extLst>
              <a:ext uri="{FF2B5EF4-FFF2-40B4-BE49-F238E27FC236}">
                <a16:creationId xmlns:a16="http://schemas.microsoft.com/office/drawing/2014/main" id="{D6281A6E-0978-E750-979A-417D9B40D9C6}"/>
              </a:ext>
            </a:extLst>
          </p:cNvPr>
          <p:cNvSpPr txBox="1">
            <a:spLocks/>
          </p:cNvSpPr>
          <p:nvPr/>
        </p:nvSpPr>
        <p:spPr bwMode="auto">
          <a:xfrm>
            <a:off x="8226798" y="1600201"/>
            <a:ext cx="3557834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−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000" kern="0" dirty="0"/>
              <a:t>OICA </a:t>
            </a:r>
            <a:r>
              <a:rPr lang="en-US" sz="2000" b="1" kern="0" dirty="0"/>
              <a:t>suggests to </a:t>
            </a:r>
            <a:r>
              <a:rPr lang="en-US" sz="2000" kern="0" dirty="0"/>
              <a:t>mandate for EVs fitted with sound enhancement systems </a:t>
            </a:r>
            <a:r>
              <a:rPr lang="en-US" sz="2000" b="1" kern="0" dirty="0"/>
              <a:t>compliance with UN R51.03 Annex 7 ASEP provisions </a:t>
            </a:r>
            <a:br>
              <a:rPr lang="en-US" sz="2000" b="1" kern="0" dirty="0"/>
            </a:br>
            <a:r>
              <a:rPr lang="en-US" sz="2000" kern="0" dirty="0"/>
              <a:t>(up to 80 km/h).  </a:t>
            </a:r>
            <a:br>
              <a:rPr lang="en-US" sz="2000" kern="0" dirty="0"/>
            </a:br>
            <a:r>
              <a:rPr lang="en-US" sz="2000" b="1" kern="0" dirty="0">
                <a:solidFill>
                  <a:schemeClr val="accent2"/>
                </a:solidFill>
              </a:rPr>
              <a:t>GRBP-79-43</a:t>
            </a:r>
            <a:endParaRPr lang="en-US" sz="2000" b="1" kern="0" dirty="0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0" name="Diagramm 29">
            <a:extLst>
              <a:ext uri="{FF2B5EF4-FFF2-40B4-BE49-F238E27FC236}">
                <a16:creationId xmlns:a16="http://schemas.microsoft.com/office/drawing/2014/main" id="{1F31F646-87CA-B46A-8A68-2A0CE185A1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7646081"/>
              </p:ext>
            </p:extLst>
          </p:nvPr>
        </p:nvGraphicFramePr>
        <p:xfrm>
          <a:off x="609600" y="1543362"/>
          <a:ext cx="7632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490299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  <p:bldGraphic spid="50" grpId="0">
        <p:bldAsOne/>
      </p:bldGraphic>
      <p:bldGraphic spid="28" grpId="0">
        <p:bldAsOne/>
      </p:bldGraphic>
      <p:bldGraphic spid="30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ABEL-urn:ae5340c4-9fe1-4a96-afeb-8a9275c94f9e:quickSlide:basic:slides#e3ae8436-5ed0-428c-9ea3-b3cf70f894c4\51bd83e5-35ce-4fe3-bcec-dd31160b2f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ABEL-urn:ae5340c4-9fe1-4a96-afeb-8a9275c94f9e:quickSlide:basic:slides#e3ae8436-5ed0-428c-9ea3-b3cf70f894c4\51bd83e5-35ce-4fe3-bcec-dd31160b2f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ABEL-urn:ae5340c4-9fe1-4a96-afeb-8a9275c94f9e:quickSlide:basic:slides#e3ae8436-5ed0-428c-9ea3-b3cf70f894c4\51bd83e5-35ce-4fe3-bcec-dd31160b2f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ABEL-urn:ae5340c4-9fe1-4a96-afeb-8a9275c94f9e:quickSlide:basic:slides#e3ae8436-5ed0-428c-9ea3-b3cf70f894c4\51bd83e5-35ce-4fe3-bcec-dd31160b2f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ABEL-urn:ae5340c4-9fe1-4a96-afeb-8a9275c94f9e:quickSlide:basic:slides#e3ae8436-5ed0-428c-9ea3-b3cf70f894c4\51bd83e5-35ce-4fe3-bcec-dd31160b2f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que présentation OICA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que présentation avec nouveau logo et format 16x9" id="{85D48C29-F5D1-45D1-86B0-358C96AA2DC8}" vid="{438186FC-A8D2-4D68-B072-911AEBB13642}"/>
    </a:ext>
  </a:ext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9" ma:contentTypeDescription="Create a new document." ma:contentTypeScope="" ma:versionID="957983f112ff70deb4ba3514eaba81b6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226e8c697896011a9f0e61e90df53f9c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251CA1-A0A9-4EF7-BE4D-5C54C698D22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ED28E4-54CC-4262-9243-220AC49F4E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</TotalTime>
  <Words>2077</Words>
  <Application>Microsoft Office PowerPoint</Application>
  <PresentationFormat>Widescreen</PresentationFormat>
  <Paragraphs>203</Paragraphs>
  <Slides>1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Arial Narrow</vt:lpstr>
      <vt:lpstr>Calibri</vt:lpstr>
      <vt:lpstr>Courier New</vt:lpstr>
      <vt:lpstr>Times New Roman</vt:lpstr>
      <vt:lpstr>Wingdings</vt:lpstr>
      <vt:lpstr>Masque présentation OICA</vt:lpstr>
      <vt:lpstr>think-cell Folie</vt:lpstr>
      <vt:lpstr>OICA Position Paper  on new 02 Series of Amendments to  UN Regulation No. 138</vt:lpstr>
      <vt:lpstr>Original Idea of TF QRTV  shown in GRBP-79-06 Revised List of GRBP Priorities </vt:lpstr>
      <vt:lpstr>Work of TF Quiet Road Transport Vehicle Scope changed from Safety to Environmental</vt:lpstr>
      <vt:lpstr>Output of TF Quiet Road Transport Vehicle Documents presented in 79th GRBP</vt:lpstr>
      <vt:lpstr>Output of TF Quiet Road Transport Vehicle Documents presented in 79th GRBP</vt:lpstr>
      <vt:lpstr>Classification of EV’s Sound Emission  ASEP Database compared with EMISIA and TF QRTV Limits</vt:lpstr>
      <vt:lpstr>Classification of EV’s Sound Emission  Electric vehicles have no need for stricter limits!</vt:lpstr>
      <vt:lpstr>Classification of the Sound Emission  Maximum sound limits shall not jeopardize safe minimum sound!</vt:lpstr>
      <vt:lpstr>Alternative Concept for Electric Vehicles UN R51.03 Annex 7 ASEP provisions</vt:lpstr>
      <vt:lpstr>Alternative Concept for Electric Vehicles UN R51.03 Annex 7 ASEP provisions</vt:lpstr>
      <vt:lpstr>What could be achieved with a bit more time for finding a solution acceptable to all stakeholders?</vt:lpstr>
      <vt:lpstr>OICA’s Position Summary</vt:lpstr>
      <vt:lpstr>OICA’s Alternative Concept 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ocelyne Nziendolo</dc:creator>
  <cp:lastModifiedBy>Secretariat editorial modifications</cp:lastModifiedBy>
  <cp:revision>13</cp:revision>
  <dcterms:created xsi:type="dcterms:W3CDTF">2018-05-24T09:21:32Z</dcterms:created>
  <dcterms:modified xsi:type="dcterms:W3CDTF">2024-02-06T09:1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9540963-e559-4020-8a90-fe8a502c2801_Enabled">
    <vt:lpwstr>true</vt:lpwstr>
  </property>
  <property fmtid="{D5CDD505-2E9C-101B-9397-08002B2CF9AE}" pid="3" name="MSIP_Label_19540963-e559-4020-8a90-fe8a502c2801_SetDate">
    <vt:lpwstr>2024-02-04T16:40:51Z</vt:lpwstr>
  </property>
  <property fmtid="{D5CDD505-2E9C-101B-9397-08002B2CF9AE}" pid="4" name="MSIP_Label_19540963-e559-4020-8a90-fe8a502c2801_Method">
    <vt:lpwstr>Standard</vt:lpwstr>
  </property>
  <property fmtid="{D5CDD505-2E9C-101B-9397-08002B2CF9AE}" pid="5" name="MSIP_Label_19540963-e559-4020-8a90-fe8a502c2801_Name">
    <vt:lpwstr>19540963-e559-4020-8a90-fe8a502c2801</vt:lpwstr>
  </property>
  <property fmtid="{D5CDD505-2E9C-101B-9397-08002B2CF9AE}" pid="6" name="MSIP_Label_19540963-e559-4020-8a90-fe8a502c2801_SiteId">
    <vt:lpwstr>f25493ae-1c98-41d7-8a33-0be75f5fe603</vt:lpwstr>
  </property>
  <property fmtid="{D5CDD505-2E9C-101B-9397-08002B2CF9AE}" pid="7" name="MSIP_Label_19540963-e559-4020-8a90-fe8a502c2801_ActionId">
    <vt:lpwstr>590a0255-2d8c-45ac-b157-46adfefbef79</vt:lpwstr>
  </property>
  <property fmtid="{D5CDD505-2E9C-101B-9397-08002B2CF9AE}" pid="8" name="MSIP_Label_19540963-e559-4020-8a90-fe8a502c2801_ContentBits">
    <vt:lpwstr>0</vt:lpwstr>
  </property>
</Properties>
</file>